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5"/>
    <p:sldMasterId id="2147483716" r:id="rId6"/>
    <p:sldMasterId id="2147483855" r:id="rId7"/>
  </p:sldMasterIdLst>
  <p:notesMasterIdLst>
    <p:notesMasterId r:id="rId13"/>
  </p:notesMasterIdLst>
  <p:handoutMasterIdLst>
    <p:handoutMasterId r:id="rId14"/>
  </p:handoutMasterIdLst>
  <p:sldIdLst>
    <p:sldId id="1781" r:id="rId8"/>
    <p:sldId id="1854" r:id="rId9"/>
    <p:sldId id="1857" r:id="rId10"/>
    <p:sldId id="1856" r:id="rId11"/>
    <p:sldId id="325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2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2313"/>
    <a:srgbClr val="E77F00"/>
    <a:srgbClr val="C2BBAD"/>
    <a:srgbClr val="69614E"/>
    <a:srgbClr val="A1A250"/>
    <a:srgbClr val="A2AA3D"/>
    <a:srgbClr val="6F90A7"/>
    <a:srgbClr val="84B5BD"/>
    <a:srgbClr val="C7B400"/>
    <a:srgbClr val="C6B5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8E16DCE-9126-4233-92E5-AF8C92185776}" v="25" dt="2023-07-24T14:11:59.4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019" autoAdjust="0"/>
    <p:restoredTop sz="93979" autoAdjust="0"/>
  </p:normalViewPr>
  <p:slideViewPr>
    <p:cSldViewPr snapToGrid="0" showGuides="1">
      <p:cViewPr varScale="1">
        <p:scale>
          <a:sx n="63" d="100"/>
          <a:sy n="63" d="100"/>
        </p:scale>
        <p:origin x="162" y="48"/>
      </p:cViewPr>
      <p:guideLst>
        <p:guide orient="horz" pos="252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5" d="100"/>
          <a:sy n="85" d="100"/>
        </p:scale>
        <p:origin x="290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FD26062-7206-42FE-A191-BB5A3F24A2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410131-BC1B-4C83-BAA0-CD13BC2812C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E9E0EE-1DCB-4F30-B077-464F007E46A9}" type="datetimeFigureOut">
              <a:rPr lang="en-GB" smtClean="0"/>
              <a:t>24/07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B17F80-520F-4F97-9BFD-F218B23CB8E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D9C2C7-6FAF-40EA-AAF4-3EFD6C389A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FBB4C9-A071-41E4-892E-F03D70EA8B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1256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CE7D0A-618D-469D-A0F6-7E10C3D47CE6}" type="datetimeFigureOut">
              <a:rPr lang="en-GB" smtClean="0"/>
              <a:t>24/07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43C31-A911-4174-806B-8AA6C10B71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16444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9311433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EDA1C25F-7D43-4095-A0B8-45700D5B151C}"/>
              </a:ext>
            </a:extLst>
          </p:cNvPr>
          <p:cNvSpPr/>
          <p:nvPr userDrawn="1"/>
        </p:nvSpPr>
        <p:spPr>
          <a:xfrm>
            <a:off x="8499929" y="4854262"/>
            <a:ext cx="3250324" cy="1694430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6" y="2085874"/>
            <a:ext cx="3329183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4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800" dirty="0"/>
              <a:t>Normal text here and here and here and here</a:t>
            </a:r>
            <a:endParaRPr lang="en-GB" sz="24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DE8A4C4-F89C-4196-9B13-39D203050D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136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8F9668B-79E7-0D4F-9005-0200485007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42"/>
            <a:ext cx="12192000" cy="6857519"/>
          </a:xfrm>
          <a:prstGeom prst="rect">
            <a:avLst/>
          </a:prstGeom>
        </p:spPr>
      </p:pic>
      <p:sp>
        <p:nvSpPr>
          <p:cNvPr id="9" name="object 11">
            <a:extLst>
              <a:ext uri="{FF2B5EF4-FFF2-40B4-BE49-F238E27FC236}">
                <a16:creationId xmlns:a16="http://schemas.microsoft.com/office/drawing/2014/main" id="{51C1E120-73D3-F54F-A4FF-45B281C99B5C}"/>
              </a:ext>
            </a:extLst>
          </p:cNvPr>
          <p:cNvSpPr/>
          <p:nvPr userDrawn="1"/>
        </p:nvSpPr>
        <p:spPr>
          <a:xfrm>
            <a:off x="635835" y="3931064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8B1908B7-F9B1-3544-9013-7B356269A8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84575" y="4113726"/>
            <a:ext cx="7012180" cy="1103312"/>
          </a:xfrm>
          <a:prstGeom prst="rect">
            <a:avLst/>
          </a:prstGeom>
        </p:spPr>
        <p:txBody>
          <a:bodyPr/>
          <a:lstStyle>
            <a:lvl1pPr marL="12700" marR="5080" indent="0">
              <a:lnSpc>
                <a:spcPct val="105500"/>
              </a:lnSpc>
              <a:spcBef>
                <a:spcPts val="95"/>
              </a:spcBef>
              <a:buNone/>
              <a:defRPr sz="3320" b="1" i="0">
                <a:solidFill>
                  <a:schemeClr val="bg1"/>
                </a:solidFill>
                <a:latin typeface="Tahoma Regular"/>
              </a:defRPr>
            </a:lvl1pPr>
          </a:lstStyle>
          <a:p>
            <a:pPr marL="12700" marR="5080">
              <a:lnSpc>
                <a:spcPct val="105500"/>
              </a:lnSpc>
              <a:spcBef>
                <a:spcPts val="95"/>
              </a:spcBef>
            </a:pPr>
            <a:r>
              <a:rPr lang="en-ZA" sz="3200" b="1" kern="0" spc="10" dirty="0"/>
              <a:t>COVER TITLE </a:t>
            </a:r>
            <a:r>
              <a:rPr lang="en-ZA" sz="3200" b="1" kern="0" spc="15" dirty="0"/>
              <a:t>GOES </a:t>
            </a:r>
            <a:r>
              <a:rPr lang="en-ZA" sz="3200" b="1" kern="0" spc="10" dirty="0"/>
              <a:t>HERE </a:t>
            </a:r>
            <a:r>
              <a:rPr lang="en-ZA" sz="3200" b="1" kern="0" spc="15" dirty="0"/>
              <a:t>ON TWO </a:t>
            </a:r>
            <a:r>
              <a:rPr lang="en-ZA" sz="3200" b="1" kern="0" spc="10" dirty="0"/>
              <a:t>LINES </a:t>
            </a:r>
            <a:r>
              <a:rPr lang="en-ZA" sz="3200" b="1" kern="0" spc="5" dirty="0"/>
              <a:t>IF</a:t>
            </a:r>
            <a:r>
              <a:rPr lang="en-ZA" sz="3200" b="1" kern="0" spc="-260" dirty="0"/>
              <a:t> </a:t>
            </a:r>
            <a:r>
              <a:rPr lang="en-ZA" sz="3200" b="1" kern="0" spc="-25" dirty="0"/>
              <a:t>NECESSARY</a:t>
            </a:r>
            <a:endParaRPr lang="en-ZA" sz="3200" b="1" kern="0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759545F2-4665-B041-B591-186383A0FD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84371" y="5217038"/>
            <a:ext cx="6248013" cy="15182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="0" i="0">
                <a:solidFill>
                  <a:schemeClr val="bg1"/>
                </a:solidFill>
                <a:latin typeface="Tahoma Regular"/>
              </a:defRPr>
            </a:lvl1pPr>
            <a:lvl2pPr marL="446410" indent="0">
              <a:buNone/>
              <a:defRPr>
                <a:solidFill>
                  <a:schemeClr val="bg1"/>
                </a:solidFill>
              </a:defRPr>
            </a:lvl2pPr>
            <a:lvl3pPr marL="892820" indent="0">
              <a:buNone/>
              <a:defRPr>
                <a:solidFill>
                  <a:schemeClr val="bg1"/>
                </a:solidFill>
              </a:defRPr>
            </a:lvl3pPr>
            <a:lvl4pPr marL="1339230" indent="0">
              <a:buNone/>
              <a:defRPr>
                <a:solidFill>
                  <a:schemeClr val="bg1"/>
                </a:solidFill>
              </a:defRPr>
            </a:lvl4pPr>
            <a:lvl5pPr marL="178564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o:</a:t>
            </a:r>
          </a:p>
          <a:p>
            <a:pPr lvl="0"/>
            <a:r>
              <a:rPr lang="en-US" dirty="0"/>
              <a:t>Company name goes here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2020/00/00</a:t>
            </a:r>
          </a:p>
        </p:txBody>
      </p:sp>
    </p:spTree>
    <p:extLst>
      <p:ext uri="{BB962C8B-B14F-4D97-AF65-F5344CB8AC3E}">
        <p14:creationId xmlns:p14="http://schemas.microsoft.com/office/powerpoint/2010/main" val="36306330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79E674D-CCDE-664E-B7E1-6EDFB0E31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42"/>
            <a:ext cx="12192000" cy="6857519"/>
          </a:xfrm>
          <a:prstGeom prst="rect">
            <a:avLst/>
          </a:prstGeom>
        </p:spPr>
      </p:pic>
      <p:sp>
        <p:nvSpPr>
          <p:cNvPr id="11" name="object 11">
            <a:extLst>
              <a:ext uri="{FF2B5EF4-FFF2-40B4-BE49-F238E27FC236}">
                <a16:creationId xmlns:a16="http://schemas.microsoft.com/office/drawing/2014/main" id="{E90EF58E-9D3B-454C-9B65-D7E07EDA99DC}"/>
              </a:ext>
            </a:extLst>
          </p:cNvPr>
          <p:cNvSpPr/>
          <p:nvPr userDrawn="1"/>
        </p:nvSpPr>
        <p:spPr>
          <a:xfrm>
            <a:off x="635835" y="3931064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5701DDF-9C44-2A4B-8206-1D538DE597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84575" y="4113726"/>
            <a:ext cx="7012180" cy="1103312"/>
          </a:xfrm>
          <a:prstGeom prst="rect">
            <a:avLst/>
          </a:prstGeom>
        </p:spPr>
        <p:txBody>
          <a:bodyPr/>
          <a:lstStyle>
            <a:lvl1pPr marL="12700" marR="5080" indent="0">
              <a:lnSpc>
                <a:spcPct val="105500"/>
              </a:lnSpc>
              <a:spcBef>
                <a:spcPts val="95"/>
              </a:spcBef>
              <a:buNone/>
              <a:defRPr sz="3320" b="1" i="0">
                <a:solidFill>
                  <a:schemeClr val="bg1"/>
                </a:solidFill>
                <a:latin typeface="Tahoma Regular"/>
              </a:defRPr>
            </a:lvl1pPr>
          </a:lstStyle>
          <a:p>
            <a:pPr marL="12700" marR="5080">
              <a:lnSpc>
                <a:spcPct val="105500"/>
              </a:lnSpc>
              <a:spcBef>
                <a:spcPts val="95"/>
              </a:spcBef>
            </a:pPr>
            <a:r>
              <a:rPr lang="en-ZA" sz="3200" b="1" kern="0" spc="10" dirty="0"/>
              <a:t>COVER TITLE </a:t>
            </a:r>
            <a:r>
              <a:rPr lang="en-ZA" sz="3200" b="1" kern="0" spc="15" dirty="0"/>
              <a:t>GOES </a:t>
            </a:r>
            <a:r>
              <a:rPr lang="en-ZA" sz="3200" b="1" kern="0" spc="10" dirty="0"/>
              <a:t>HERE </a:t>
            </a:r>
            <a:r>
              <a:rPr lang="en-ZA" sz="3200" b="1" kern="0" spc="15" dirty="0"/>
              <a:t>ON TWO </a:t>
            </a:r>
            <a:r>
              <a:rPr lang="en-ZA" sz="3200" b="1" kern="0" spc="10" dirty="0"/>
              <a:t>LINES </a:t>
            </a:r>
            <a:r>
              <a:rPr lang="en-ZA" sz="3200" b="1" kern="0" spc="5" dirty="0"/>
              <a:t>IF</a:t>
            </a:r>
            <a:r>
              <a:rPr lang="en-ZA" sz="3200" b="1" kern="0" spc="-260" dirty="0"/>
              <a:t> </a:t>
            </a:r>
            <a:r>
              <a:rPr lang="en-ZA" sz="3200" b="1" kern="0" spc="-25" dirty="0"/>
              <a:t>NECESSARY</a:t>
            </a:r>
            <a:endParaRPr lang="en-ZA" sz="3200" b="1" kern="0" dirty="0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E2BAA37B-DBFE-AC46-B1AB-651D09F178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84371" y="5217038"/>
            <a:ext cx="6248013" cy="15182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="0" i="0">
                <a:solidFill>
                  <a:schemeClr val="bg1"/>
                </a:solidFill>
                <a:latin typeface="Tahoma Regular"/>
              </a:defRPr>
            </a:lvl1pPr>
            <a:lvl2pPr marL="446410" indent="0">
              <a:buNone/>
              <a:defRPr>
                <a:solidFill>
                  <a:schemeClr val="bg1"/>
                </a:solidFill>
              </a:defRPr>
            </a:lvl2pPr>
            <a:lvl3pPr marL="892820" indent="0">
              <a:buNone/>
              <a:defRPr>
                <a:solidFill>
                  <a:schemeClr val="bg1"/>
                </a:solidFill>
              </a:defRPr>
            </a:lvl3pPr>
            <a:lvl4pPr marL="1339230" indent="0">
              <a:buNone/>
              <a:defRPr>
                <a:solidFill>
                  <a:schemeClr val="bg1"/>
                </a:solidFill>
              </a:defRPr>
            </a:lvl4pPr>
            <a:lvl5pPr marL="178564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o:</a:t>
            </a:r>
          </a:p>
          <a:p>
            <a:pPr lvl="0"/>
            <a:r>
              <a:rPr lang="en-US" dirty="0"/>
              <a:t>Company name goes here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2020/00/00</a:t>
            </a:r>
          </a:p>
        </p:txBody>
      </p:sp>
    </p:spTree>
    <p:extLst>
      <p:ext uri="{BB962C8B-B14F-4D97-AF65-F5344CB8AC3E}">
        <p14:creationId xmlns:p14="http://schemas.microsoft.com/office/powerpoint/2010/main" val="26813367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C025B11-0C5E-C645-A4EC-E573965611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42"/>
            <a:ext cx="12192000" cy="6857519"/>
          </a:xfrm>
          <a:prstGeom prst="rect">
            <a:avLst/>
          </a:prstGeom>
        </p:spPr>
      </p:pic>
      <p:sp>
        <p:nvSpPr>
          <p:cNvPr id="7" name="object 11">
            <a:extLst>
              <a:ext uri="{FF2B5EF4-FFF2-40B4-BE49-F238E27FC236}">
                <a16:creationId xmlns:a16="http://schemas.microsoft.com/office/drawing/2014/main" id="{AA826F37-1925-5A44-A1C7-3A4E9EC9FB90}"/>
              </a:ext>
            </a:extLst>
          </p:cNvPr>
          <p:cNvSpPr/>
          <p:nvPr userDrawn="1"/>
        </p:nvSpPr>
        <p:spPr>
          <a:xfrm>
            <a:off x="635835" y="3931064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8DF2816A-0AE4-C046-8EAA-2506B1295E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84575" y="4113726"/>
            <a:ext cx="7012180" cy="1103312"/>
          </a:xfrm>
          <a:prstGeom prst="rect">
            <a:avLst/>
          </a:prstGeom>
        </p:spPr>
        <p:txBody>
          <a:bodyPr/>
          <a:lstStyle>
            <a:lvl1pPr marL="12700" marR="5080" indent="0">
              <a:lnSpc>
                <a:spcPct val="105500"/>
              </a:lnSpc>
              <a:spcBef>
                <a:spcPts val="95"/>
              </a:spcBef>
              <a:buNone/>
              <a:defRPr sz="3320" b="1" i="0">
                <a:solidFill>
                  <a:schemeClr val="bg1"/>
                </a:solidFill>
                <a:latin typeface="Tahoma Regular"/>
              </a:defRPr>
            </a:lvl1pPr>
          </a:lstStyle>
          <a:p>
            <a:pPr marL="12700" marR="5080">
              <a:lnSpc>
                <a:spcPct val="105500"/>
              </a:lnSpc>
              <a:spcBef>
                <a:spcPts val="95"/>
              </a:spcBef>
            </a:pPr>
            <a:r>
              <a:rPr lang="en-ZA" sz="3200" b="1" kern="0" spc="10" dirty="0"/>
              <a:t>COVER TITLE </a:t>
            </a:r>
            <a:r>
              <a:rPr lang="en-ZA" sz="3200" b="1" kern="0" spc="15" dirty="0"/>
              <a:t>GOES </a:t>
            </a:r>
            <a:r>
              <a:rPr lang="en-ZA" sz="3200" b="1" kern="0" spc="10" dirty="0"/>
              <a:t>HERE </a:t>
            </a:r>
            <a:r>
              <a:rPr lang="en-ZA" sz="3200" b="1" kern="0" spc="15" dirty="0"/>
              <a:t>ON TWO </a:t>
            </a:r>
            <a:r>
              <a:rPr lang="en-ZA" sz="3200" b="1" kern="0" spc="10" dirty="0"/>
              <a:t>LINES </a:t>
            </a:r>
            <a:r>
              <a:rPr lang="en-ZA" sz="3200" b="1" kern="0" spc="5" dirty="0"/>
              <a:t>IF</a:t>
            </a:r>
            <a:r>
              <a:rPr lang="en-ZA" sz="3200" b="1" kern="0" spc="-260" dirty="0"/>
              <a:t> </a:t>
            </a:r>
            <a:r>
              <a:rPr lang="en-ZA" sz="3200" b="1" kern="0" spc="-25" dirty="0"/>
              <a:t>NECESSARY</a:t>
            </a:r>
            <a:endParaRPr lang="en-ZA" sz="3200" b="1" kern="0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2D868911-2D85-8048-A124-6D52483BF8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84371" y="5217038"/>
            <a:ext cx="6248013" cy="15182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="0" i="0">
                <a:solidFill>
                  <a:schemeClr val="bg1"/>
                </a:solidFill>
                <a:latin typeface="Tahoma Regular"/>
              </a:defRPr>
            </a:lvl1pPr>
            <a:lvl2pPr marL="446410" indent="0">
              <a:buNone/>
              <a:defRPr>
                <a:solidFill>
                  <a:schemeClr val="bg1"/>
                </a:solidFill>
              </a:defRPr>
            </a:lvl2pPr>
            <a:lvl3pPr marL="892820" indent="0">
              <a:buNone/>
              <a:defRPr>
                <a:solidFill>
                  <a:schemeClr val="bg1"/>
                </a:solidFill>
              </a:defRPr>
            </a:lvl3pPr>
            <a:lvl4pPr marL="1339230" indent="0">
              <a:buNone/>
              <a:defRPr>
                <a:solidFill>
                  <a:schemeClr val="bg1"/>
                </a:solidFill>
              </a:defRPr>
            </a:lvl4pPr>
            <a:lvl5pPr marL="178564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o:</a:t>
            </a:r>
          </a:p>
          <a:p>
            <a:pPr lvl="0"/>
            <a:r>
              <a:rPr lang="en-US" dirty="0"/>
              <a:t>Company name goes here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2020/00/00</a:t>
            </a:r>
          </a:p>
        </p:txBody>
      </p:sp>
    </p:spTree>
    <p:extLst>
      <p:ext uri="{BB962C8B-B14F-4D97-AF65-F5344CB8AC3E}">
        <p14:creationId xmlns:p14="http://schemas.microsoft.com/office/powerpoint/2010/main" val="14930618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D12C5C9-F935-3548-B824-61A3063436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42"/>
            <a:ext cx="12192000" cy="6857519"/>
          </a:xfrm>
          <a:prstGeom prst="rect">
            <a:avLst/>
          </a:prstGeom>
        </p:spPr>
      </p:pic>
      <p:sp>
        <p:nvSpPr>
          <p:cNvPr id="8" name="object 11">
            <a:extLst>
              <a:ext uri="{FF2B5EF4-FFF2-40B4-BE49-F238E27FC236}">
                <a16:creationId xmlns:a16="http://schemas.microsoft.com/office/drawing/2014/main" id="{A13E0821-30F1-154B-B952-D551A3B75F00}"/>
              </a:ext>
            </a:extLst>
          </p:cNvPr>
          <p:cNvSpPr/>
          <p:nvPr userDrawn="1"/>
        </p:nvSpPr>
        <p:spPr>
          <a:xfrm>
            <a:off x="635835" y="3931064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C4D281C8-828A-0645-B9B6-6181454FE7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84575" y="4113726"/>
            <a:ext cx="7337963" cy="1103312"/>
          </a:xfrm>
          <a:prstGeom prst="rect">
            <a:avLst/>
          </a:prstGeom>
        </p:spPr>
        <p:txBody>
          <a:bodyPr/>
          <a:lstStyle>
            <a:lvl1pPr marL="12700" marR="5080" indent="0">
              <a:lnSpc>
                <a:spcPct val="105500"/>
              </a:lnSpc>
              <a:spcBef>
                <a:spcPts val="95"/>
              </a:spcBef>
              <a:buNone/>
              <a:defRPr sz="3600" b="1" i="0">
                <a:solidFill>
                  <a:schemeClr val="bg1"/>
                </a:solidFill>
                <a:latin typeface="Tahoma Regular"/>
              </a:defRPr>
            </a:lvl1pPr>
          </a:lstStyle>
          <a:p>
            <a:pPr marL="12700" marR="5080">
              <a:lnSpc>
                <a:spcPct val="105500"/>
              </a:lnSpc>
              <a:spcBef>
                <a:spcPts val="95"/>
              </a:spcBef>
            </a:pPr>
            <a:r>
              <a:rPr lang="en-ZA" sz="3200" b="1" kern="0" spc="10" dirty="0"/>
              <a:t>COVER TITLE </a:t>
            </a:r>
            <a:r>
              <a:rPr lang="en-ZA" sz="3200" b="1" kern="0" spc="15" dirty="0"/>
              <a:t>GOES </a:t>
            </a:r>
            <a:r>
              <a:rPr lang="en-ZA" sz="3200" b="1" kern="0" spc="10" dirty="0"/>
              <a:t>HERE </a:t>
            </a:r>
            <a:r>
              <a:rPr lang="en-ZA" sz="3200" b="1" kern="0" spc="15" dirty="0"/>
              <a:t>ON TWO </a:t>
            </a:r>
            <a:r>
              <a:rPr lang="en-ZA" sz="3200" b="1" kern="0" spc="10" dirty="0"/>
              <a:t>LINES </a:t>
            </a:r>
            <a:r>
              <a:rPr lang="en-ZA" sz="3200" b="1" kern="0" spc="5" dirty="0"/>
              <a:t>IF</a:t>
            </a:r>
            <a:r>
              <a:rPr lang="en-ZA" sz="3200" b="1" kern="0" spc="-260" dirty="0"/>
              <a:t> </a:t>
            </a:r>
            <a:r>
              <a:rPr lang="en-ZA" sz="3200" b="1" kern="0" spc="-25" dirty="0"/>
              <a:t>NECESSARY</a:t>
            </a:r>
            <a:endParaRPr lang="en-ZA" sz="3200" b="1" kern="0" dirty="0"/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89AB7C3A-09EE-CE4B-8F93-302A854183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84371" y="5217038"/>
            <a:ext cx="6248013" cy="15182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="0" i="0">
                <a:solidFill>
                  <a:schemeClr val="bg1"/>
                </a:solidFill>
                <a:latin typeface="Tahoma Regular"/>
              </a:defRPr>
            </a:lvl1pPr>
            <a:lvl2pPr marL="446410" indent="0">
              <a:buNone/>
              <a:defRPr>
                <a:solidFill>
                  <a:schemeClr val="bg1"/>
                </a:solidFill>
              </a:defRPr>
            </a:lvl2pPr>
            <a:lvl3pPr marL="892820" indent="0">
              <a:buNone/>
              <a:defRPr>
                <a:solidFill>
                  <a:schemeClr val="bg1"/>
                </a:solidFill>
              </a:defRPr>
            </a:lvl3pPr>
            <a:lvl4pPr marL="1339230" indent="0">
              <a:buNone/>
              <a:defRPr>
                <a:solidFill>
                  <a:schemeClr val="bg1"/>
                </a:solidFill>
              </a:defRPr>
            </a:lvl4pPr>
            <a:lvl5pPr marL="178564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o:</a:t>
            </a:r>
          </a:p>
          <a:p>
            <a:pPr lvl="0"/>
            <a:r>
              <a:rPr lang="en-US" dirty="0"/>
              <a:t>Company name goes here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2020/00/00</a:t>
            </a:r>
          </a:p>
        </p:txBody>
      </p:sp>
    </p:spTree>
    <p:extLst>
      <p:ext uri="{BB962C8B-B14F-4D97-AF65-F5344CB8AC3E}">
        <p14:creationId xmlns:p14="http://schemas.microsoft.com/office/powerpoint/2010/main" val="37440519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6803254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EDA1C25F-7D43-4095-A0B8-45700D5B151C}"/>
              </a:ext>
            </a:extLst>
          </p:cNvPr>
          <p:cNvSpPr/>
          <p:nvPr userDrawn="1"/>
        </p:nvSpPr>
        <p:spPr>
          <a:xfrm>
            <a:off x="8499929" y="4854262"/>
            <a:ext cx="3250324" cy="1694430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6" y="2085874"/>
            <a:ext cx="3329183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4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800" dirty="0"/>
              <a:t>Normal text here and here and here and here</a:t>
            </a:r>
            <a:endParaRPr lang="en-GB" sz="24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DE8A4C4-F89C-4196-9B13-39D203050D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5691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7540262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7" y="2085874"/>
            <a:ext cx="2995808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 dirty="0"/>
              <a:t>Normal text here and here and here and here</a:t>
            </a:r>
            <a:endParaRPr lang="en-GB" sz="2000" dirty="0"/>
          </a:p>
          <a:p>
            <a:pPr marL="197049" marR="3008">
              <a:lnSpc>
                <a:spcPct val="100600"/>
              </a:lnSpc>
            </a:pPr>
            <a:endParaRPr lang="en-GB" sz="1600" dirty="0"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B7093058-1C72-42EE-AFD4-C6A337F2FC13}"/>
              </a:ext>
            </a:extLst>
          </p:cNvPr>
          <p:cNvSpPr/>
          <p:nvPr userDrawn="1"/>
        </p:nvSpPr>
        <p:spPr>
          <a:xfrm>
            <a:off x="8580474" y="3407791"/>
            <a:ext cx="3205788" cy="3090186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A53F04-AED7-452A-9F24-9297FB349A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827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1870229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6" y="2085874"/>
            <a:ext cx="2967233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 dirty="0"/>
              <a:t>Normal text here and here and here and here</a:t>
            </a:r>
            <a:endParaRPr lang="en-GB" sz="2000" dirty="0"/>
          </a:p>
          <a:p>
            <a:pPr marL="197049" marR="3008" indent="-189904">
              <a:lnSpc>
                <a:spcPct val="100600"/>
              </a:lnSpc>
              <a:spcBef>
                <a:spcPts val="56"/>
              </a:spcBef>
            </a:pPr>
            <a:endParaRPr lang="en-GB" sz="1600" b="1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558145CC-D3BC-4C88-AA7C-565A0C5BCABE}"/>
              </a:ext>
            </a:extLst>
          </p:cNvPr>
          <p:cNvSpPr/>
          <p:nvPr userDrawn="1"/>
        </p:nvSpPr>
        <p:spPr>
          <a:xfrm>
            <a:off x="8189297" y="4958505"/>
            <a:ext cx="3821367" cy="1519130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0BB016E-539B-4F7E-9E4A-780487E1CE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8727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9480870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ON TWO LINES IF NECESSARY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4609602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031-043D-4150-8D51-38680CAB1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CUSTOM SLID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68115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89E258-1D79-4E25-B592-51F1147856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9941" y="356990"/>
            <a:ext cx="9145218" cy="661832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SLIDE TITLE GOES HERE</a:t>
            </a:r>
            <a:br>
              <a:rPr lang="en-US" dirty="0"/>
            </a:br>
            <a:r>
              <a:rPr lang="en-US" dirty="0"/>
              <a:t>ON TWO LINES IF NECESSARY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7644EA8-7028-42E5-833F-BAD05B8F4B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8328" y="1201381"/>
            <a:ext cx="11055343" cy="5299629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9" name="object 11">
            <a:extLst>
              <a:ext uri="{FF2B5EF4-FFF2-40B4-BE49-F238E27FC236}">
                <a16:creationId xmlns:a16="http://schemas.microsoft.com/office/drawing/2014/main" id="{235ED689-9638-443C-9A10-E043942A6629}"/>
              </a:ext>
            </a:extLst>
          </p:cNvPr>
          <p:cNvSpPr/>
          <p:nvPr userDrawn="1"/>
        </p:nvSpPr>
        <p:spPr>
          <a:xfrm>
            <a:off x="620851" y="6136760"/>
            <a:ext cx="166575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982667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9417810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7" y="2085874"/>
            <a:ext cx="2995808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 dirty="0"/>
              <a:t>Normal text here and here and here and here</a:t>
            </a:r>
            <a:endParaRPr lang="en-GB" sz="2000" dirty="0"/>
          </a:p>
          <a:p>
            <a:pPr marL="197049" marR="3008">
              <a:lnSpc>
                <a:spcPct val="100600"/>
              </a:lnSpc>
            </a:pPr>
            <a:endParaRPr lang="en-GB" sz="1600" dirty="0"/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B7093058-1C72-42EE-AFD4-C6A337F2FC13}"/>
              </a:ext>
            </a:extLst>
          </p:cNvPr>
          <p:cNvSpPr/>
          <p:nvPr userDrawn="1"/>
        </p:nvSpPr>
        <p:spPr>
          <a:xfrm>
            <a:off x="8580474" y="3407791"/>
            <a:ext cx="3205788" cy="3090186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A53F04-AED7-452A-9F24-9297FB349A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216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2">
            <a:extLst>
              <a:ext uri="{FF2B5EF4-FFF2-40B4-BE49-F238E27FC236}">
                <a16:creationId xmlns:a16="http://schemas.microsoft.com/office/drawing/2014/main" id="{9673ADB8-E5D1-124A-8C4A-2DD75998A228}"/>
              </a:ext>
            </a:extLst>
          </p:cNvPr>
          <p:cNvSpPr/>
          <p:nvPr userDrawn="1"/>
        </p:nvSpPr>
        <p:spPr>
          <a:xfrm>
            <a:off x="1" y="0"/>
            <a:ext cx="12191999" cy="685751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DCE2317-9465-B44C-889D-A5E7352B42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81"/>
            <a:ext cx="12192000" cy="6857519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CE58E494-1C6C-6048-95A4-E67DC56D17E1}"/>
              </a:ext>
            </a:extLst>
          </p:cNvPr>
          <p:cNvGrpSpPr/>
          <p:nvPr userDrawn="1"/>
        </p:nvGrpSpPr>
        <p:grpSpPr>
          <a:xfrm>
            <a:off x="8986233" y="302269"/>
            <a:ext cx="2774642" cy="1163669"/>
            <a:chOff x="14817924" y="781197"/>
            <a:chExt cx="4575269" cy="1918977"/>
          </a:xfrm>
        </p:grpSpPr>
        <p:sp>
          <p:nvSpPr>
            <p:cNvPr id="6" name="object 6">
              <a:extLst>
                <a:ext uri="{FF2B5EF4-FFF2-40B4-BE49-F238E27FC236}">
                  <a16:creationId xmlns:a16="http://schemas.microsoft.com/office/drawing/2014/main" id="{988D07A3-0940-0A42-8A69-CD338296E901}"/>
                </a:ext>
              </a:extLst>
            </p:cNvPr>
            <p:cNvSpPr/>
            <p:nvPr/>
          </p:nvSpPr>
          <p:spPr>
            <a:xfrm>
              <a:off x="14817924" y="2494651"/>
              <a:ext cx="87452" cy="154822"/>
            </a:xfrm>
            <a:prstGeom prst="rect">
              <a:avLst/>
            </a:prstGeom>
            <a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30B6986F-75AA-4742-977C-6A4BC896B03F}"/>
                </a:ext>
              </a:extLst>
            </p:cNvPr>
            <p:cNvSpPr/>
            <p:nvPr/>
          </p:nvSpPr>
          <p:spPr>
            <a:xfrm>
              <a:off x="14931724" y="2542744"/>
              <a:ext cx="85630" cy="106719"/>
            </a:xfrm>
            <a:prstGeom prst="rect">
              <a:avLst/>
            </a:prstGeom>
            <a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8" name="object 8">
              <a:extLst>
                <a:ext uri="{FF2B5EF4-FFF2-40B4-BE49-F238E27FC236}">
                  <a16:creationId xmlns:a16="http://schemas.microsoft.com/office/drawing/2014/main" id="{831D4405-7C33-EE49-83D0-0DFBF1B03A36}"/>
                </a:ext>
              </a:extLst>
            </p:cNvPr>
            <p:cNvSpPr/>
            <p:nvPr/>
          </p:nvSpPr>
          <p:spPr>
            <a:xfrm>
              <a:off x="15096148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790" y="48082"/>
                  </a:lnTo>
                  <a:lnTo>
                    <a:pt x="3790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14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14" y="28417"/>
                  </a:lnTo>
                  <a:lnTo>
                    <a:pt x="28407" y="22104"/>
                  </a:lnTo>
                  <a:lnTo>
                    <a:pt x="28407" y="6272"/>
                  </a:lnTo>
                  <a:lnTo>
                    <a:pt x="2211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9" name="object 9">
              <a:extLst>
                <a:ext uri="{FF2B5EF4-FFF2-40B4-BE49-F238E27FC236}">
                  <a16:creationId xmlns:a16="http://schemas.microsoft.com/office/drawing/2014/main" id="{F10C3FDC-3B9C-F943-A57A-8203A4553305}"/>
                </a:ext>
              </a:extLst>
            </p:cNvPr>
            <p:cNvSpPr/>
            <p:nvPr/>
          </p:nvSpPr>
          <p:spPr>
            <a:xfrm>
              <a:off x="16034821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821" y="48082"/>
                  </a:lnTo>
                  <a:lnTo>
                    <a:pt x="3821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24" y="0"/>
                  </a:moveTo>
                  <a:lnTo>
                    <a:pt x="629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293" y="28417"/>
                  </a:lnTo>
                  <a:lnTo>
                    <a:pt x="22124" y="28417"/>
                  </a:lnTo>
                  <a:lnTo>
                    <a:pt x="28428" y="22104"/>
                  </a:lnTo>
                  <a:lnTo>
                    <a:pt x="28428" y="6272"/>
                  </a:lnTo>
                  <a:lnTo>
                    <a:pt x="221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0" name="object 10">
              <a:extLst>
                <a:ext uri="{FF2B5EF4-FFF2-40B4-BE49-F238E27FC236}">
                  <a16:creationId xmlns:a16="http://schemas.microsoft.com/office/drawing/2014/main" id="{6DC94C29-8843-4A4F-882E-11F5742BDC36}"/>
                </a:ext>
              </a:extLst>
            </p:cNvPr>
            <p:cNvSpPr/>
            <p:nvPr/>
          </p:nvSpPr>
          <p:spPr>
            <a:xfrm>
              <a:off x="16678738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292" y="48082"/>
                  </a:moveTo>
                  <a:lnTo>
                    <a:pt x="3790" y="48082"/>
                  </a:lnTo>
                  <a:lnTo>
                    <a:pt x="3790" y="149524"/>
                  </a:lnTo>
                  <a:lnTo>
                    <a:pt x="24292" y="149524"/>
                  </a:lnTo>
                  <a:lnTo>
                    <a:pt x="24292" y="48082"/>
                  </a:lnTo>
                  <a:close/>
                </a:path>
                <a:path w="28575" h="149860">
                  <a:moveTo>
                    <a:pt x="22104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04" y="28417"/>
                  </a:lnTo>
                  <a:lnTo>
                    <a:pt x="28397" y="22104"/>
                  </a:lnTo>
                  <a:lnTo>
                    <a:pt x="28397" y="6272"/>
                  </a:lnTo>
                  <a:lnTo>
                    <a:pt x="2210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7D8BD669-B8D4-7848-80E7-1C8D4904BAED}"/>
                </a:ext>
              </a:extLst>
            </p:cNvPr>
            <p:cNvSpPr/>
            <p:nvPr/>
          </p:nvSpPr>
          <p:spPr>
            <a:xfrm>
              <a:off x="15443530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800" y="48082"/>
                  </a:lnTo>
                  <a:lnTo>
                    <a:pt x="3800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35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35" y="28417"/>
                  </a:lnTo>
                  <a:lnTo>
                    <a:pt x="28417" y="22104"/>
                  </a:lnTo>
                  <a:lnTo>
                    <a:pt x="28417" y="6272"/>
                  </a:lnTo>
                  <a:lnTo>
                    <a:pt x="2213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989DAB23-E9EF-C14F-B9C4-929E36182A25}"/>
                </a:ext>
              </a:extLst>
            </p:cNvPr>
            <p:cNvSpPr/>
            <p:nvPr/>
          </p:nvSpPr>
          <p:spPr>
            <a:xfrm>
              <a:off x="15144446" y="2542744"/>
              <a:ext cx="192678" cy="106719"/>
            </a:xfrm>
            <a:prstGeom prst="rect">
              <a:avLst/>
            </a:prstGeom>
            <a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066B0F2C-E5DF-704B-A18A-F55897F9141C}"/>
                </a:ext>
              </a:extLst>
            </p:cNvPr>
            <p:cNvSpPr/>
            <p:nvPr/>
          </p:nvSpPr>
          <p:spPr>
            <a:xfrm>
              <a:off x="15363480" y="2542744"/>
              <a:ext cx="59690" cy="104139"/>
            </a:xfrm>
            <a:custGeom>
              <a:avLst/>
              <a:gdLst/>
              <a:ahLst/>
              <a:cxnLst/>
              <a:rect l="l" t="t" r="r" b="b"/>
              <a:pathLst>
                <a:path w="59690" h="104139">
                  <a:moveTo>
                    <a:pt x="13999" y="2628"/>
                  </a:moveTo>
                  <a:lnTo>
                    <a:pt x="0" y="2628"/>
                  </a:lnTo>
                  <a:lnTo>
                    <a:pt x="0" y="104080"/>
                  </a:lnTo>
                  <a:lnTo>
                    <a:pt x="20878" y="104080"/>
                  </a:lnTo>
                  <a:lnTo>
                    <a:pt x="20878" y="24135"/>
                  </a:lnTo>
                  <a:lnTo>
                    <a:pt x="26794" y="21496"/>
                  </a:lnTo>
                  <a:lnTo>
                    <a:pt x="33674" y="19255"/>
                  </a:lnTo>
                  <a:lnTo>
                    <a:pt x="59443" y="19255"/>
                  </a:lnTo>
                  <a:lnTo>
                    <a:pt x="59443" y="8303"/>
                  </a:lnTo>
                  <a:lnTo>
                    <a:pt x="16020" y="8303"/>
                  </a:lnTo>
                  <a:lnTo>
                    <a:pt x="13999" y="2628"/>
                  </a:lnTo>
                  <a:close/>
                </a:path>
                <a:path w="59690" h="104139">
                  <a:moveTo>
                    <a:pt x="59443" y="19255"/>
                  </a:moveTo>
                  <a:lnTo>
                    <a:pt x="48501" y="19255"/>
                  </a:lnTo>
                  <a:lnTo>
                    <a:pt x="54364" y="20481"/>
                  </a:lnTo>
                  <a:lnTo>
                    <a:pt x="59443" y="22302"/>
                  </a:lnTo>
                  <a:lnTo>
                    <a:pt x="59443" y="19255"/>
                  </a:lnTo>
                  <a:close/>
                </a:path>
                <a:path w="59690" h="104139">
                  <a:moveTo>
                    <a:pt x="48909" y="0"/>
                  </a:moveTo>
                  <a:lnTo>
                    <a:pt x="44427" y="0"/>
                  </a:lnTo>
                  <a:lnTo>
                    <a:pt x="37022" y="527"/>
                  </a:lnTo>
                  <a:lnTo>
                    <a:pt x="29764" y="2098"/>
                  </a:lnTo>
                  <a:lnTo>
                    <a:pt x="22737" y="4695"/>
                  </a:lnTo>
                  <a:lnTo>
                    <a:pt x="16020" y="8303"/>
                  </a:lnTo>
                  <a:lnTo>
                    <a:pt x="59443" y="8303"/>
                  </a:lnTo>
                  <a:lnTo>
                    <a:pt x="59443" y="1612"/>
                  </a:lnTo>
                  <a:lnTo>
                    <a:pt x="54993" y="607"/>
                  </a:lnTo>
                  <a:lnTo>
                    <a:pt x="489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F5949A49-32CF-984C-8B66-5F0F8599F7B8}"/>
                </a:ext>
              </a:extLst>
            </p:cNvPr>
            <p:cNvSpPr/>
            <p:nvPr/>
          </p:nvSpPr>
          <p:spPr>
            <a:xfrm>
              <a:off x="15501005" y="2542734"/>
              <a:ext cx="199600" cy="157440"/>
            </a:xfrm>
            <a:prstGeom prst="rect">
              <a:avLst/>
            </a:prstGeom>
            <a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5" name="object 15">
              <a:extLst>
                <a:ext uri="{FF2B5EF4-FFF2-40B4-BE49-F238E27FC236}">
                  <a16:creationId xmlns:a16="http://schemas.microsoft.com/office/drawing/2014/main" id="{ABFE3AD2-32C6-ED43-919B-CD3D7C50C9E1}"/>
                </a:ext>
              </a:extLst>
            </p:cNvPr>
            <p:cNvSpPr/>
            <p:nvPr/>
          </p:nvSpPr>
          <p:spPr>
            <a:xfrm>
              <a:off x="15844767" y="2542744"/>
              <a:ext cx="59690" cy="104139"/>
            </a:xfrm>
            <a:custGeom>
              <a:avLst/>
              <a:gdLst/>
              <a:ahLst/>
              <a:cxnLst/>
              <a:rect l="l" t="t" r="r" b="b"/>
              <a:pathLst>
                <a:path w="59690" h="104139">
                  <a:moveTo>
                    <a:pt x="14020" y="2628"/>
                  </a:moveTo>
                  <a:lnTo>
                    <a:pt x="0" y="2628"/>
                  </a:lnTo>
                  <a:lnTo>
                    <a:pt x="0" y="104080"/>
                  </a:lnTo>
                  <a:lnTo>
                    <a:pt x="20920" y="104080"/>
                  </a:lnTo>
                  <a:lnTo>
                    <a:pt x="20920" y="24135"/>
                  </a:lnTo>
                  <a:lnTo>
                    <a:pt x="26774" y="21496"/>
                  </a:lnTo>
                  <a:lnTo>
                    <a:pt x="33695" y="19255"/>
                  </a:lnTo>
                  <a:lnTo>
                    <a:pt x="59464" y="19255"/>
                  </a:lnTo>
                  <a:lnTo>
                    <a:pt x="59464" y="8303"/>
                  </a:lnTo>
                  <a:lnTo>
                    <a:pt x="16041" y="8303"/>
                  </a:lnTo>
                  <a:lnTo>
                    <a:pt x="14020" y="2628"/>
                  </a:lnTo>
                  <a:close/>
                </a:path>
                <a:path w="59690" h="104139">
                  <a:moveTo>
                    <a:pt x="59464" y="19255"/>
                  </a:moveTo>
                  <a:lnTo>
                    <a:pt x="48501" y="19255"/>
                  </a:lnTo>
                  <a:lnTo>
                    <a:pt x="54385" y="20481"/>
                  </a:lnTo>
                  <a:lnTo>
                    <a:pt x="59464" y="22302"/>
                  </a:lnTo>
                  <a:lnTo>
                    <a:pt x="59464" y="19255"/>
                  </a:lnTo>
                  <a:close/>
                </a:path>
                <a:path w="59690" h="104139">
                  <a:moveTo>
                    <a:pt x="48909" y="0"/>
                  </a:moveTo>
                  <a:lnTo>
                    <a:pt x="44427" y="0"/>
                  </a:lnTo>
                  <a:lnTo>
                    <a:pt x="37025" y="527"/>
                  </a:lnTo>
                  <a:lnTo>
                    <a:pt x="29775" y="2098"/>
                  </a:lnTo>
                  <a:lnTo>
                    <a:pt x="22754" y="4695"/>
                  </a:lnTo>
                  <a:lnTo>
                    <a:pt x="16041" y="8303"/>
                  </a:lnTo>
                  <a:lnTo>
                    <a:pt x="59464" y="8303"/>
                  </a:lnTo>
                  <a:lnTo>
                    <a:pt x="59464" y="1612"/>
                  </a:lnTo>
                  <a:lnTo>
                    <a:pt x="54993" y="607"/>
                  </a:lnTo>
                  <a:lnTo>
                    <a:pt x="489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6" name="object 16">
              <a:extLst>
                <a:ext uri="{FF2B5EF4-FFF2-40B4-BE49-F238E27FC236}">
                  <a16:creationId xmlns:a16="http://schemas.microsoft.com/office/drawing/2014/main" id="{6EA42F7F-35EB-034A-977D-6915BDF3B4CC}"/>
                </a:ext>
              </a:extLst>
            </p:cNvPr>
            <p:cNvSpPr/>
            <p:nvPr/>
          </p:nvSpPr>
          <p:spPr>
            <a:xfrm>
              <a:off x="15924490" y="2542744"/>
              <a:ext cx="85630" cy="106719"/>
            </a:xfrm>
            <a:prstGeom prst="rect">
              <a:avLst/>
            </a:prstGeom>
            <a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7" name="object 17">
              <a:extLst>
                <a:ext uri="{FF2B5EF4-FFF2-40B4-BE49-F238E27FC236}">
                  <a16:creationId xmlns:a16="http://schemas.microsoft.com/office/drawing/2014/main" id="{856F3CDD-B521-754D-9F17-33D01AF2FC5D}"/>
                </a:ext>
              </a:extLst>
            </p:cNvPr>
            <p:cNvSpPr/>
            <p:nvPr/>
          </p:nvSpPr>
          <p:spPr>
            <a:xfrm>
              <a:off x="16083729" y="2542734"/>
              <a:ext cx="98991" cy="157440"/>
            </a:xfrm>
            <a:prstGeom prst="rect">
              <a:avLst/>
            </a:prstGeom>
            <a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26B44690-08F5-394D-9C32-DFA8AEB8E95B}"/>
                </a:ext>
              </a:extLst>
            </p:cNvPr>
            <p:cNvSpPr/>
            <p:nvPr/>
          </p:nvSpPr>
          <p:spPr>
            <a:xfrm>
              <a:off x="16203392" y="2494664"/>
              <a:ext cx="81327" cy="152152"/>
            </a:xfrm>
            <a:prstGeom prst="rect">
              <a:avLst/>
            </a:prstGeom>
            <a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9" name="object 19">
              <a:extLst>
                <a:ext uri="{FF2B5EF4-FFF2-40B4-BE49-F238E27FC236}">
                  <a16:creationId xmlns:a16="http://schemas.microsoft.com/office/drawing/2014/main" id="{82F79D31-ADC0-544C-BE4D-9AF0D38D20F9}"/>
                </a:ext>
              </a:extLst>
            </p:cNvPr>
            <p:cNvSpPr/>
            <p:nvPr/>
          </p:nvSpPr>
          <p:spPr>
            <a:xfrm>
              <a:off x="16435528" y="2542744"/>
              <a:ext cx="162704" cy="106719"/>
            </a:xfrm>
            <a:prstGeom prst="rect">
              <a:avLst/>
            </a:prstGeom>
            <a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0" name="object 20">
              <a:extLst>
                <a:ext uri="{FF2B5EF4-FFF2-40B4-BE49-F238E27FC236}">
                  <a16:creationId xmlns:a16="http://schemas.microsoft.com/office/drawing/2014/main" id="{749719E9-7629-0D43-B014-D5EF4E13BC42}"/>
                </a:ext>
              </a:extLst>
            </p:cNvPr>
            <p:cNvSpPr/>
            <p:nvPr/>
          </p:nvSpPr>
          <p:spPr>
            <a:xfrm>
              <a:off x="16733088" y="2542749"/>
              <a:ext cx="81128" cy="106708"/>
            </a:xfrm>
            <a:prstGeom prst="rect">
              <a:avLst/>
            </a:prstGeom>
            <a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1" name="object 21">
              <a:extLst>
                <a:ext uri="{FF2B5EF4-FFF2-40B4-BE49-F238E27FC236}">
                  <a16:creationId xmlns:a16="http://schemas.microsoft.com/office/drawing/2014/main" id="{8D20C62F-8BDC-8949-9BEF-237EE7D4E653}"/>
                </a:ext>
              </a:extLst>
            </p:cNvPr>
            <p:cNvSpPr/>
            <p:nvPr/>
          </p:nvSpPr>
          <p:spPr>
            <a:xfrm>
              <a:off x="16842601" y="2494645"/>
              <a:ext cx="87442" cy="154801"/>
            </a:xfrm>
            <a:prstGeom prst="rect">
              <a:avLst/>
            </a:prstGeom>
            <a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2" name="object 22">
              <a:extLst>
                <a:ext uri="{FF2B5EF4-FFF2-40B4-BE49-F238E27FC236}">
                  <a16:creationId xmlns:a16="http://schemas.microsoft.com/office/drawing/2014/main" id="{27E8ACD7-1E2A-0C4F-93E3-0886E0B9D56E}"/>
                </a:ext>
              </a:extLst>
            </p:cNvPr>
            <p:cNvSpPr/>
            <p:nvPr/>
          </p:nvSpPr>
          <p:spPr>
            <a:xfrm>
              <a:off x="17003059" y="2545373"/>
              <a:ext cx="94353" cy="152162"/>
            </a:xfrm>
            <a:prstGeom prst="rect">
              <a:avLst/>
            </a:prstGeom>
            <a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3" name="object 23">
              <a:extLst>
                <a:ext uri="{FF2B5EF4-FFF2-40B4-BE49-F238E27FC236}">
                  <a16:creationId xmlns:a16="http://schemas.microsoft.com/office/drawing/2014/main" id="{0C46363A-0B6B-6D4B-8603-8D0B46C19AAC}"/>
                </a:ext>
              </a:extLst>
            </p:cNvPr>
            <p:cNvSpPr/>
            <p:nvPr/>
          </p:nvSpPr>
          <p:spPr>
            <a:xfrm>
              <a:off x="15056164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49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4" name="object 24">
              <a:extLst>
                <a:ext uri="{FF2B5EF4-FFF2-40B4-BE49-F238E27FC236}">
                  <a16:creationId xmlns:a16="http://schemas.microsoft.com/office/drawing/2014/main" id="{484959F2-EC34-1F4F-904E-E9EE95EC816F}"/>
                </a:ext>
              </a:extLst>
            </p:cNvPr>
            <p:cNvSpPr/>
            <p:nvPr/>
          </p:nvSpPr>
          <p:spPr>
            <a:xfrm>
              <a:off x="16637037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5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63E8624E-5A3B-0D45-BAD7-9DA598F7C26D}"/>
                </a:ext>
              </a:extLst>
            </p:cNvPr>
            <p:cNvSpPr/>
            <p:nvPr/>
          </p:nvSpPr>
          <p:spPr>
            <a:xfrm>
              <a:off x="16968897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50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6" name="object 26">
              <a:extLst>
                <a:ext uri="{FF2B5EF4-FFF2-40B4-BE49-F238E27FC236}">
                  <a16:creationId xmlns:a16="http://schemas.microsoft.com/office/drawing/2014/main" id="{F585B409-CD62-9246-9092-11DDAC75585B}"/>
                </a:ext>
              </a:extLst>
            </p:cNvPr>
            <p:cNvSpPr/>
            <p:nvPr/>
          </p:nvSpPr>
          <p:spPr>
            <a:xfrm>
              <a:off x="16312543" y="2512005"/>
              <a:ext cx="51435" cy="137795"/>
            </a:xfrm>
            <a:custGeom>
              <a:avLst/>
              <a:gdLst/>
              <a:ahLst/>
              <a:cxnLst/>
              <a:rect l="l" t="t" r="r" b="b"/>
              <a:pathLst>
                <a:path w="51434" h="137794">
                  <a:moveTo>
                    <a:pt x="20805" y="0"/>
                  </a:moveTo>
                  <a:lnTo>
                    <a:pt x="0" y="5758"/>
                  </a:lnTo>
                  <a:lnTo>
                    <a:pt x="0" y="108593"/>
                  </a:lnTo>
                  <a:lnTo>
                    <a:pt x="2937" y="121631"/>
                  </a:lnTo>
                  <a:lnTo>
                    <a:pt x="10667" y="130611"/>
                  </a:lnTo>
                  <a:lnTo>
                    <a:pt x="21565" y="135801"/>
                  </a:lnTo>
                  <a:lnTo>
                    <a:pt x="34009" y="137472"/>
                  </a:lnTo>
                  <a:lnTo>
                    <a:pt x="41852" y="137472"/>
                  </a:lnTo>
                  <a:lnTo>
                    <a:pt x="46982" y="136205"/>
                  </a:lnTo>
                  <a:lnTo>
                    <a:pt x="46982" y="117849"/>
                  </a:lnTo>
                  <a:lnTo>
                    <a:pt x="26585" y="117849"/>
                  </a:lnTo>
                  <a:lnTo>
                    <a:pt x="20805" y="115399"/>
                  </a:lnTo>
                  <a:lnTo>
                    <a:pt x="20805" y="49851"/>
                  </a:lnTo>
                  <a:lnTo>
                    <a:pt x="51317" y="49851"/>
                  </a:lnTo>
                  <a:lnTo>
                    <a:pt x="51317" y="31726"/>
                  </a:lnTo>
                  <a:lnTo>
                    <a:pt x="20805" y="31726"/>
                  </a:lnTo>
                  <a:lnTo>
                    <a:pt x="20805" y="0"/>
                  </a:lnTo>
                  <a:close/>
                </a:path>
                <a:path w="51434" h="137794">
                  <a:moveTo>
                    <a:pt x="46982" y="117054"/>
                  </a:moveTo>
                  <a:lnTo>
                    <a:pt x="44731" y="117462"/>
                  </a:lnTo>
                  <a:lnTo>
                    <a:pt x="39559" y="117849"/>
                  </a:lnTo>
                  <a:lnTo>
                    <a:pt x="46982" y="117849"/>
                  </a:lnTo>
                  <a:lnTo>
                    <a:pt x="46982" y="11705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7" name="object 27">
              <a:extLst>
                <a:ext uri="{FF2B5EF4-FFF2-40B4-BE49-F238E27FC236}">
                  <a16:creationId xmlns:a16="http://schemas.microsoft.com/office/drawing/2014/main" id="{3FAD4E42-952E-D149-99A0-372A21AD6CE7}"/>
                </a:ext>
              </a:extLst>
            </p:cNvPr>
            <p:cNvSpPr/>
            <p:nvPr/>
          </p:nvSpPr>
          <p:spPr>
            <a:xfrm>
              <a:off x="15771907" y="2491999"/>
              <a:ext cx="51435" cy="154940"/>
            </a:xfrm>
            <a:custGeom>
              <a:avLst/>
              <a:gdLst/>
              <a:ahLst/>
              <a:cxnLst/>
              <a:rect l="l" t="t" r="r" b="b"/>
              <a:pathLst>
                <a:path w="51434" h="154939">
                  <a:moveTo>
                    <a:pt x="41831" y="0"/>
                  </a:moveTo>
                  <a:lnTo>
                    <a:pt x="34030" y="0"/>
                  </a:lnTo>
                  <a:lnTo>
                    <a:pt x="21574" y="1670"/>
                  </a:lnTo>
                  <a:lnTo>
                    <a:pt x="10669" y="6861"/>
                  </a:lnTo>
                  <a:lnTo>
                    <a:pt x="2937" y="15840"/>
                  </a:lnTo>
                  <a:lnTo>
                    <a:pt x="0" y="28878"/>
                  </a:lnTo>
                  <a:lnTo>
                    <a:pt x="0" y="154812"/>
                  </a:lnTo>
                  <a:lnTo>
                    <a:pt x="20805" y="154812"/>
                  </a:lnTo>
                  <a:lnTo>
                    <a:pt x="20805" y="71505"/>
                  </a:lnTo>
                  <a:lnTo>
                    <a:pt x="51338" y="71505"/>
                  </a:lnTo>
                  <a:lnTo>
                    <a:pt x="51338" y="53380"/>
                  </a:lnTo>
                  <a:lnTo>
                    <a:pt x="20805" y="53380"/>
                  </a:lnTo>
                  <a:lnTo>
                    <a:pt x="20805" y="22072"/>
                  </a:lnTo>
                  <a:lnTo>
                    <a:pt x="26564" y="19601"/>
                  </a:lnTo>
                  <a:lnTo>
                    <a:pt x="46982" y="19601"/>
                  </a:lnTo>
                  <a:lnTo>
                    <a:pt x="46982" y="1246"/>
                  </a:lnTo>
                  <a:lnTo>
                    <a:pt x="41831" y="0"/>
                  </a:lnTo>
                  <a:close/>
                </a:path>
                <a:path w="51434" h="154939">
                  <a:moveTo>
                    <a:pt x="46982" y="19601"/>
                  </a:moveTo>
                  <a:lnTo>
                    <a:pt x="39569" y="19601"/>
                  </a:lnTo>
                  <a:lnTo>
                    <a:pt x="44721" y="20009"/>
                  </a:lnTo>
                  <a:lnTo>
                    <a:pt x="46982" y="20418"/>
                  </a:lnTo>
                  <a:lnTo>
                    <a:pt x="46982" y="196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1AEE6AD3-D5D8-4240-A700-2B0E39D9FFC8}"/>
                </a:ext>
              </a:extLst>
            </p:cNvPr>
            <p:cNvSpPr/>
            <p:nvPr/>
          </p:nvSpPr>
          <p:spPr>
            <a:xfrm>
              <a:off x="17093362" y="1336135"/>
              <a:ext cx="612140" cy="353695"/>
            </a:xfrm>
            <a:custGeom>
              <a:avLst/>
              <a:gdLst/>
              <a:ahLst/>
              <a:cxnLst/>
              <a:rect l="l" t="t" r="r" b="b"/>
              <a:pathLst>
                <a:path w="612140" h="353694">
                  <a:moveTo>
                    <a:pt x="611656" y="0"/>
                  </a:moveTo>
                  <a:lnTo>
                    <a:pt x="0" y="20"/>
                  </a:lnTo>
                  <a:lnTo>
                    <a:pt x="203910" y="353162"/>
                  </a:lnTo>
                  <a:lnTo>
                    <a:pt x="407767" y="353162"/>
                  </a:lnTo>
                  <a:lnTo>
                    <a:pt x="611656" y="0"/>
                  </a:lnTo>
                  <a:close/>
                </a:path>
              </a:pathLst>
            </a:custGeom>
            <a:solidFill>
              <a:srgbClr val="85BD3E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9" name="object 29">
              <a:extLst>
                <a:ext uri="{FF2B5EF4-FFF2-40B4-BE49-F238E27FC236}">
                  <a16:creationId xmlns:a16="http://schemas.microsoft.com/office/drawing/2014/main" id="{F0AF6F60-B5C8-034E-9CB0-F5F2FEE248E5}"/>
                </a:ext>
              </a:extLst>
            </p:cNvPr>
            <p:cNvSpPr/>
            <p:nvPr/>
          </p:nvSpPr>
          <p:spPr>
            <a:xfrm>
              <a:off x="17471866" y="1336132"/>
              <a:ext cx="1165860" cy="1009650"/>
            </a:xfrm>
            <a:custGeom>
              <a:avLst/>
              <a:gdLst/>
              <a:ahLst/>
              <a:cxnLst/>
              <a:rect l="l" t="t" r="r" b="b"/>
              <a:pathLst>
                <a:path w="1165859" h="1009650">
                  <a:moveTo>
                    <a:pt x="961363" y="0"/>
                  </a:moveTo>
                  <a:lnTo>
                    <a:pt x="378805" y="41"/>
                  </a:lnTo>
                  <a:lnTo>
                    <a:pt x="0" y="655665"/>
                  </a:lnTo>
                  <a:lnTo>
                    <a:pt x="204046" y="1009026"/>
                  </a:lnTo>
                  <a:lnTo>
                    <a:pt x="582683" y="353162"/>
                  </a:lnTo>
                  <a:lnTo>
                    <a:pt x="1165388" y="353162"/>
                  </a:lnTo>
                  <a:lnTo>
                    <a:pt x="961363" y="0"/>
                  </a:lnTo>
                  <a:close/>
                </a:path>
              </a:pathLst>
            </a:custGeom>
            <a:solidFill>
              <a:srgbClr val="E63023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125205B5-8411-4A45-A066-6B1F267005F4}"/>
                </a:ext>
              </a:extLst>
            </p:cNvPr>
            <p:cNvSpPr/>
            <p:nvPr/>
          </p:nvSpPr>
          <p:spPr>
            <a:xfrm>
              <a:off x="17602493" y="781197"/>
              <a:ext cx="1790700" cy="201930"/>
            </a:xfrm>
            <a:custGeom>
              <a:avLst/>
              <a:gdLst/>
              <a:ahLst/>
              <a:cxnLst/>
              <a:rect l="l" t="t" r="r" b="b"/>
              <a:pathLst>
                <a:path w="1790700" h="201930">
                  <a:moveTo>
                    <a:pt x="328136" y="0"/>
                  </a:moveTo>
                  <a:lnTo>
                    <a:pt x="208370" y="0"/>
                  </a:lnTo>
                  <a:lnTo>
                    <a:pt x="208370" y="201784"/>
                  </a:lnTo>
                  <a:lnTo>
                    <a:pt x="258829" y="201784"/>
                  </a:lnTo>
                  <a:lnTo>
                    <a:pt x="258829" y="122991"/>
                  </a:lnTo>
                  <a:lnTo>
                    <a:pt x="364700" y="122991"/>
                  </a:lnTo>
                  <a:lnTo>
                    <a:pt x="359287" y="113609"/>
                  </a:lnTo>
                  <a:lnTo>
                    <a:pt x="369823" y="104711"/>
                  </a:lnTo>
                  <a:lnTo>
                    <a:pt x="377924" y="93525"/>
                  </a:lnTo>
                  <a:lnTo>
                    <a:pt x="383125" y="80510"/>
                  </a:lnTo>
                  <a:lnTo>
                    <a:pt x="383340" y="78824"/>
                  </a:lnTo>
                  <a:lnTo>
                    <a:pt x="258829" y="78824"/>
                  </a:lnTo>
                  <a:lnTo>
                    <a:pt x="258829" y="44145"/>
                  </a:lnTo>
                  <a:lnTo>
                    <a:pt x="382315" y="44145"/>
                  </a:lnTo>
                  <a:lnTo>
                    <a:pt x="380421" y="34716"/>
                  </a:lnTo>
                  <a:lnTo>
                    <a:pt x="368281" y="16647"/>
                  </a:lnTo>
                  <a:lnTo>
                    <a:pt x="350253" y="4466"/>
                  </a:lnTo>
                  <a:lnTo>
                    <a:pt x="328136" y="0"/>
                  </a:lnTo>
                  <a:close/>
                </a:path>
                <a:path w="1790700" h="201930">
                  <a:moveTo>
                    <a:pt x="364700" y="122991"/>
                  </a:moveTo>
                  <a:lnTo>
                    <a:pt x="313498" y="122991"/>
                  </a:lnTo>
                  <a:lnTo>
                    <a:pt x="358994" y="201784"/>
                  </a:lnTo>
                  <a:lnTo>
                    <a:pt x="410165" y="201784"/>
                  </a:lnTo>
                  <a:lnTo>
                    <a:pt x="364700" y="122991"/>
                  </a:lnTo>
                  <a:close/>
                </a:path>
                <a:path w="1790700" h="201930">
                  <a:moveTo>
                    <a:pt x="566139" y="0"/>
                  </a:moveTo>
                  <a:lnTo>
                    <a:pt x="512445" y="0"/>
                  </a:lnTo>
                  <a:lnTo>
                    <a:pt x="410165" y="201784"/>
                  </a:lnTo>
                  <a:lnTo>
                    <a:pt x="463849" y="201784"/>
                  </a:lnTo>
                  <a:lnTo>
                    <a:pt x="489398" y="151346"/>
                  </a:lnTo>
                  <a:lnTo>
                    <a:pt x="642861" y="151346"/>
                  </a:lnTo>
                  <a:lnTo>
                    <a:pt x="620472" y="107179"/>
                  </a:lnTo>
                  <a:lnTo>
                    <a:pt x="511785" y="107179"/>
                  </a:lnTo>
                  <a:lnTo>
                    <a:pt x="539282" y="52898"/>
                  </a:lnTo>
                  <a:lnTo>
                    <a:pt x="592955" y="52898"/>
                  </a:lnTo>
                  <a:lnTo>
                    <a:pt x="566139" y="0"/>
                  </a:lnTo>
                  <a:close/>
                </a:path>
                <a:path w="1790700" h="201930">
                  <a:moveTo>
                    <a:pt x="642861" y="151346"/>
                  </a:moveTo>
                  <a:lnTo>
                    <a:pt x="589186" y="151346"/>
                  </a:lnTo>
                  <a:lnTo>
                    <a:pt x="614756" y="201784"/>
                  </a:lnTo>
                  <a:lnTo>
                    <a:pt x="668429" y="201784"/>
                  </a:lnTo>
                  <a:lnTo>
                    <a:pt x="642861" y="151346"/>
                  </a:lnTo>
                  <a:close/>
                </a:path>
                <a:path w="1790700" h="201930">
                  <a:moveTo>
                    <a:pt x="592955" y="52898"/>
                  </a:moveTo>
                  <a:lnTo>
                    <a:pt x="539282" y="52898"/>
                  </a:lnTo>
                  <a:lnTo>
                    <a:pt x="566799" y="107179"/>
                  </a:lnTo>
                  <a:lnTo>
                    <a:pt x="620472" y="107179"/>
                  </a:lnTo>
                  <a:lnTo>
                    <a:pt x="592955" y="52898"/>
                  </a:lnTo>
                  <a:close/>
                </a:path>
                <a:path w="1790700" h="201930">
                  <a:moveTo>
                    <a:pt x="382315" y="44145"/>
                  </a:moveTo>
                  <a:lnTo>
                    <a:pt x="328817" y="44145"/>
                  </a:lnTo>
                  <a:lnTo>
                    <a:pt x="334492" y="49851"/>
                  </a:lnTo>
                  <a:lnTo>
                    <a:pt x="334618" y="73149"/>
                  </a:lnTo>
                  <a:lnTo>
                    <a:pt x="328911" y="78824"/>
                  </a:lnTo>
                  <a:lnTo>
                    <a:pt x="383340" y="78824"/>
                  </a:lnTo>
                  <a:lnTo>
                    <a:pt x="384962" y="66123"/>
                  </a:lnTo>
                  <a:lnTo>
                    <a:pt x="384867" y="56846"/>
                  </a:lnTo>
                  <a:lnTo>
                    <a:pt x="382315" y="44145"/>
                  </a:lnTo>
                  <a:close/>
                </a:path>
                <a:path w="1790700" h="201930">
                  <a:moveTo>
                    <a:pt x="1582820" y="0"/>
                  </a:moveTo>
                  <a:lnTo>
                    <a:pt x="1418888" y="0"/>
                  </a:lnTo>
                  <a:lnTo>
                    <a:pt x="1418888" y="201784"/>
                  </a:lnTo>
                  <a:lnTo>
                    <a:pt x="1582820" y="201784"/>
                  </a:lnTo>
                  <a:lnTo>
                    <a:pt x="1582820" y="157618"/>
                  </a:lnTo>
                  <a:lnTo>
                    <a:pt x="1469295" y="157618"/>
                  </a:lnTo>
                  <a:lnTo>
                    <a:pt x="1469295" y="122970"/>
                  </a:lnTo>
                  <a:lnTo>
                    <a:pt x="1576548" y="122970"/>
                  </a:lnTo>
                  <a:lnTo>
                    <a:pt x="1576548" y="78803"/>
                  </a:lnTo>
                  <a:lnTo>
                    <a:pt x="1469295" y="78803"/>
                  </a:lnTo>
                  <a:lnTo>
                    <a:pt x="1469295" y="44134"/>
                  </a:lnTo>
                  <a:lnTo>
                    <a:pt x="1582820" y="44134"/>
                  </a:lnTo>
                  <a:lnTo>
                    <a:pt x="1582820" y="0"/>
                  </a:lnTo>
                  <a:close/>
                </a:path>
                <a:path w="1790700" h="201930">
                  <a:moveTo>
                    <a:pt x="955436" y="150529"/>
                  </a:moveTo>
                  <a:lnTo>
                    <a:pt x="933301" y="188800"/>
                  </a:lnTo>
                  <a:lnTo>
                    <a:pt x="946596" y="194124"/>
                  </a:lnTo>
                  <a:lnTo>
                    <a:pt x="960510" y="198071"/>
                  </a:lnTo>
                  <a:lnTo>
                    <a:pt x="974981" y="200531"/>
                  </a:lnTo>
                  <a:lnTo>
                    <a:pt x="989948" y="201397"/>
                  </a:lnTo>
                  <a:lnTo>
                    <a:pt x="1065496" y="201376"/>
                  </a:lnTo>
                  <a:lnTo>
                    <a:pt x="1087569" y="196917"/>
                  </a:lnTo>
                  <a:lnTo>
                    <a:pt x="1105565" y="184757"/>
                  </a:lnTo>
                  <a:lnTo>
                    <a:pt x="1117683" y="166721"/>
                  </a:lnTo>
                  <a:lnTo>
                    <a:pt x="1119570" y="157335"/>
                  </a:lnTo>
                  <a:lnTo>
                    <a:pt x="989948" y="157335"/>
                  </a:lnTo>
                  <a:lnTo>
                    <a:pt x="980897" y="156875"/>
                  </a:lnTo>
                  <a:lnTo>
                    <a:pt x="972092" y="155558"/>
                  </a:lnTo>
                  <a:lnTo>
                    <a:pt x="963587" y="153427"/>
                  </a:lnTo>
                  <a:lnTo>
                    <a:pt x="955436" y="150529"/>
                  </a:lnTo>
                  <a:close/>
                </a:path>
                <a:path w="1790700" h="201930">
                  <a:moveTo>
                    <a:pt x="1065464" y="0"/>
                  </a:moveTo>
                  <a:lnTo>
                    <a:pt x="989948" y="0"/>
                  </a:lnTo>
                  <a:lnTo>
                    <a:pt x="967867" y="4455"/>
                  </a:lnTo>
                  <a:lnTo>
                    <a:pt x="949865" y="16610"/>
                  </a:lnTo>
                  <a:lnTo>
                    <a:pt x="937742" y="34645"/>
                  </a:lnTo>
                  <a:lnTo>
                    <a:pt x="933301" y="56741"/>
                  </a:lnTo>
                  <a:lnTo>
                    <a:pt x="933301" y="65966"/>
                  </a:lnTo>
                  <a:lnTo>
                    <a:pt x="937742" y="88065"/>
                  </a:lnTo>
                  <a:lnTo>
                    <a:pt x="949865" y="106108"/>
                  </a:lnTo>
                  <a:lnTo>
                    <a:pt x="967867" y="118270"/>
                  </a:lnTo>
                  <a:lnTo>
                    <a:pt x="989948" y="122729"/>
                  </a:lnTo>
                  <a:lnTo>
                    <a:pt x="1066176" y="122729"/>
                  </a:lnTo>
                  <a:lnTo>
                    <a:pt x="1071852" y="128393"/>
                  </a:lnTo>
                  <a:lnTo>
                    <a:pt x="1071852" y="151628"/>
                  </a:lnTo>
                  <a:lnTo>
                    <a:pt x="1066176" y="157314"/>
                  </a:lnTo>
                  <a:lnTo>
                    <a:pt x="989948" y="157335"/>
                  </a:lnTo>
                  <a:lnTo>
                    <a:pt x="1119570" y="157335"/>
                  </a:lnTo>
                  <a:lnTo>
                    <a:pt x="1122122" y="144634"/>
                  </a:lnTo>
                  <a:lnTo>
                    <a:pt x="1122122" y="135388"/>
                  </a:lnTo>
                  <a:lnTo>
                    <a:pt x="1117683" y="113313"/>
                  </a:lnTo>
                  <a:lnTo>
                    <a:pt x="1105565" y="95283"/>
                  </a:lnTo>
                  <a:lnTo>
                    <a:pt x="1087569" y="83126"/>
                  </a:lnTo>
                  <a:lnTo>
                    <a:pt x="1065496" y="78667"/>
                  </a:lnTo>
                  <a:lnTo>
                    <a:pt x="989247" y="78667"/>
                  </a:lnTo>
                  <a:lnTo>
                    <a:pt x="983551" y="72992"/>
                  </a:lnTo>
                  <a:lnTo>
                    <a:pt x="983551" y="49736"/>
                  </a:lnTo>
                  <a:lnTo>
                    <a:pt x="989247" y="44061"/>
                  </a:lnTo>
                  <a:lnTo>
                    <a:pt x="1096919" y="44061"/>
                  </a:lnTo>
                  <a:lnTo>
                    <a:pt x="1096919" y="3120"/>
                  </a:lnTo>
                  <a:lnTo>
                    <a:pt x="1089567" y="1744"/>
                  </a:lnTo>
                  <a:lnTo>
                    <a:pt x="1081738" y="770"/>
                  </a:lnTo>
                  <a:lnTo>
                    <a:pt x="1073635" y="191"/>
                  </a:lnTo>
                  <a:lnTo>
                    <a:pt x="1065464" y="0"/>
                  </a:lnTo>
                  <a:close/>
                </a:path>
                <a:path w="1790700" h="201930">
                  <a:moveTo>
                    <a:pt x="1096919" y="44061"/>
                  </a:moveTo>
                  <a:lnTo>
                    <a:pt x="1065464" y="44061"/>
                  </a:lnTo>
                  <a:lnTo>
                    <a:pt x="1072436" y="44315"/>
                  </a:lnTo>
                  <a:lnTo>
                    <a:pt x="1081957" y="44998"/>
                  </a:lnTo>
                  <a:lnTo>
                    <a:pt x="1091096" y="45996"/>
                  </a:lnTo>
                  <a:lnTo>
                    <a:pt x="1096919" y="47192"/>
                  </a:lnTo>
                  <a:lnTo>
                    <a:pt x="1096919" y="44061"/>
                  </a:lnTo>
                  <a:close/>
                </a:path>
                <a:path w="1790700" h="201930">
                  <a:moveTo>
                    <a:pt x="1639614" y="0"/>
                  </a:moveTo>
                  <a:lnTo>
                    <a:pt x="1639614" y="201784"/>
                  </a:lnTo>
                  <a:lnTo>
                    <a:pt x="1690074" y="201784"/>
                  </a:lnTo>
                  <a:lnTo>
                    <a:pt x="1690074" y="44145"/>
                  </a:lnTo>
                  <a:lnTo>
                    <a:pt x="1765150" y="44145"/>
                  </a:lnTo>
                  <a:lnTo>
                    <a:pt x="1790667" y="31"/>
                  </a:lnTo>
                  <a:lnTo>
                    <a:pt x="1639614" y="0"/>
                  </a:lnTo>
                  <a:close/>
                </a:path>
                <a:path w="1790700" h="201930">
                  <a:moveTo>
                    <a:pt x="1217093" y="0"/>
                  </a:moveTo>
                  <a:lnTo>
                    <a:pt x="1160341" y="0"/>
                  </a:lnTo>
                  <a:lnTo>
                    <a:pt x="1160341" y="201784"/>
                  </a:lnTo>
                  <a:lnTo>
                    <a:pt x="1210758" y="201784"/>
                  </a:lnTo>
                  <a:lnTo>
                    <a:pt x="1210758" y="69589"/>
                  </a:lnTo>
                  <a:lnTo>
                    <a:pt x="1266900" y="69589"/>
                  </a:lnTo>
                  <a:lnTo>
                    <a:pt x="1217093" y="0"/>
                  </a:lnTo>
                  <a:close/>
                </a:path>
                <a:path w="1790700" h="201930">
                  <a:moveTo>
                    <a:pt x="1266900" y="69589"/>
                  </a:moveTo>
                  <a:lnTo>
                    <a:pt x="1210758" y="69589"/>
                  </a:lnTo>
                  <a:lnTo>
                    <a:pt x="1305363" y="201784"/>
                  </a:lnTo>
                  <a:lnTo>
                    <a:pt x="1362136" y="201784"/>
                  </a:lnTo>
                  <a:lnTo>
                    <a:pt x="1362136" y="132194"/>
                  </a:lnTo>
                  <a:lnTo>
                    <a:pt x="1311708" y="132194"/>
                  </a:lnTo>
                  <a:lnTo>
                    <a:pt x="1266900" y="69589"/>
                  </a:lnTo>
                  <a:close/>
                </a:path>
                <a:path w="1790700" h="201930">
                  <a:moveTo>
                    <a:pt x="1362136" y="188"/>
                  </a:moveTo>
                  <a:lnTo>
                    <a:pt x="1311708" y="188"/>
                  </a:lnTo>
                  <a:lnTo>
                    <a:pt x="1311708" y="132194"/>
                  </a:lnTo>
                  <a:lnTo>
                    <a:pt x="1362136" y="132194"/>
                  </a:lnTo>
                  <a:lnTo>
                    <a:pt x="1362136" y="188"/>
                  </a:lnTo>
                  <a:close/>
                </a:path>
                <a:path w="1790700" h="201930">
                  <a:moveTo>
                    <a:pt x="151607" y="44145"/>
                  </a:moveTo>
                  <a:lnTo>
                    <a:pt x="101138" y="44145"/>
                  </a:lnTo>
                  <a:lnTo>
                    <a:pt x="101138" y="201784"/>
                  </a:lnTo>
                  <a:lnTo>
                    <a:pt x="151607" y="201784"/>
                  </a:lnTo>
                  <a:lnTo>
                    <a:pt x="151607" y="44145"/>
                  </a:lnTo>
                  <a:close/>
                </a:path>
                <a:path w="1790700" h="201930">
                  <a:moveTo>
                    <a:pt x="151607" y="0"/>
                  </a:moveTo>
                  <a:lnTo>
                    <a:pt x="0" y="31"/>
                  </a:lnTo>
                  <a:lnTo>
                    <a:pt x="25496" y="44166"/>
                  </a:lnTo>
                  <a:lnTo>
                    <a:pt x="151607" y="44145"/>
                  </a:lnTo>
                  <a:lnTo>
                    <a:pt x="151607" y="0"/>
                  </a:lnTo>
                  <a:close/>
                </a:path>
                <a:path w="1790700" h="201930">
                  <a:moveTo>
                    <a:pt x="744092" y="0"/>
                  </a:moveTo>
                  <a:lnTo>
                    <a:pt x="687350" y="0"/>
                  </a:lnTo>
                  <a:lnTo>
                    <a:pt x="687350" y="201784"/>
                  </a:lnTo>
                  <a:lnTo>
                    <a:pt x="737768" y="201784"/>
                  </a:lnTo>
                  <a:lnTo>
                    <a:pt x="737768" y="69589"/>
                  </a:lnTo>
                  <a:lnTo>
                    <a:pt x="793893" y="69589"/>
                  </a:lnTo>
                  <a:lnTo>
                    <a:pt x="744092" y="0"/>
                  </a:lnTo>
                  <a:close/>
                </a:path>
                <a:path w="1790700" h="201930">
                  <a:moveTo>
                    <a:pt x="793893" y="69589"/>
                  </a:moveTo>
                  <a:lnTo>
                    <a:pt x="737768" y="69589"/>
                  </a:lnTo>
                  <a:lnTo>
                    <a:pt x="832372" y="201784"/>
                  </a:lnTo>
                  <a:lnTo>
                    <a:pt x="889145" y="201784"/>
                  </a:lnTo>
                  <a:lnTo>
                    <a:pt x="889145" y="132194"/>
                  </a:lnTo>
                  <a:lnTo>
                    <a:pt x="838696" y="132194"/>
                  </a:lnTo>
                  <a:lnTo>
                    <a:pt x="793893" y="69589"/>
                  </a:lnTo>
                  <a:close/>
                </a:path>
                <a:path w="1790700" h="201930">
                  <a:moveTo>
                    <a:pt x="889145" y="188"/>
                  </a:moveTo>
                  <a:lnTo>
                    <a:pt x="838696" y="188"/>
                  </a:lnTo>
                  <a:lnTo>
                    <a:pt x="838696" y="132194"/>
                  </a:lnTo>
                  <a:lnTo>
                    <a:pt x="889145" y="132194"/>
                  </a:lnTo>
                  <a:lnTo>
                    <a:pt x="889145" y="188"/>
                  </a:lnTo>
                  <a:close/>
                </a:path>
              </a:pathLst>
            </a:custGeom>
            <a:solidFill>
              <a:srgbClr val="E63023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31" name="object 4">
            <a:extLst>
              <a:ext uri="{FF2B5EF4-FFF2-40B4-BE49-F238E27FC236}">
                <a16:creationId xmlns:a16="http://schemas.microsoft.com/office/drawing/2014/main" id="{61CF7A6D-5685-6042-A629-3C5635BBC234}"/>
              </a:ext>
            </a:extLst>
          </p:cNvPr>
          <p:cNvSpPr/>
          <p:nvPr userDrawn="1"/>
        </p:nvSpPr>
        <p:spPr>
          <a:xfrm>
            <a:off x="635835" y="2664176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7365453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726504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A4AD69-0303-4036-A593-41BFCC83B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0967" y="1139930"/>
            <a:ext cx="9291310" cy="720105"/>
          </a:xfrm>
        </p:spPr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CONTENTS SLIDE</a:t>
            </a: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ED165E-15A5-4F29-AF76-14A0F953C677}"/>
              </a:ext>
            </a:extLst>
          </p:cNvPr>
          <p:cNvSpPr/>
          <p:nvPr userDrawn="1"/>
        </p:nvSpPr>
        <p:spPr>
          <a:xfrm>
            <a:off x="936478" y="765665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7C17B77-4A96-405B-A248-B1C8752AF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80966" y="2085874"/>
            <a:ext cx="2967233" cy="3902732"/>
          </a:xfrm>
          <a:prstGeom prst="rect">
            <a:avLst/>
          </a:prstGeom>
        </p:spPr>
        <p:txBody>
          <a:bodyPr/>
          <a:lstStyle>
            <a:lvl1pPr marL="7521" marR="361381" indent="-189904" algn="l">
              <a:lnSpc>
                <a:spcPct val="165300"/>
              </a:lnSpc>
              <a:spcBef>
                <a:spcPts val="56"/>
              </a:spcBef>
              <a:buNone/>
              <a:defRPr sz="170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sz="2000" dirty="0">
                <a:solidFill>
                  <a:schemeClr val="accent5"/>
                </a:solidFill>
              </a:rPr>
              <a:t>Section heading here</a:t>
            </a:r>
          </a:p>
          <a:p>
            <a:r>
              <a:rPr lang="en-GB" sz="1600" dirty="0"/>
              <a:t>Normal text here and here and here and here</a:t>
            </a:r>
            <a:endParaRPr lang="en-GB" sz="2000" dirty="0"/>
          </a:p>
          <a:p>
            <a:pPr marL="197049" marR="3008" indent="-189904">
              <a:lnSpc>
                <a:spcPct val="100600"/>
              </a:lnSpc>
              <a:spcBef>
                <a:spcPts val="56"/>
              </a:spcBef>
            </a:pPr>
            <a:endParaRPr lang="en-GB" sz="1600" b="1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558145CC-D3BC-4C88-AA7C-565A0C5BCABE}"/>
              </a:ext>
            </a:extLst>
          </p:cNvPr>
          <p:cNvSpPr/>
          <p:nvPr userDrawn="1"/>
        </p:nvSpPr>
        <p:spPr>
          <a:xfrm>
            <a:off x="8189297" y="4958505"/>
            <a:ext cx="3821367" cy="1519130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0BB016E-539B-4F7E-9E4A-780487E1CEF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180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03894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ON TWO LINES IF NECESSARY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83086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9D031-043D-4150-8D51-38680CAB1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CUSTOM SLID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15899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F89E258-1D79-4E25-B592-51F1147856D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9941" y="356990"/>
            <a:ext cx="9145218" cy="661832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SLIDE TITLE GOES HERE</a:t>
            </a:r>
            <a:br>
              <a:rPr lang="en-US" dirty="0"/>
            </a:br>
            <a:r>
              <a:rPr lang="en-US" dirty="0"/>
              <a:t>ON TWO LINES IF NECESSARY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7644EA8-7028-42E5-833F-BAD05B8F4B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8328" y="1201381"/>
            <a:ext cx="11055343" cy="5299629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9" name="object 11">
            <a:extLst>
              <a:ext uri="{FF2B5EF4-FFF2-40B4-BE49-F238E27FC236}">
                <a16:creationId xmlns:a16="http://schemas.microsoft.com/office/drawing/2014/main" id="{235ED689-9638-443C-9A10-E043942A6629}"/>
              </a:ext>
            </a:extLst>
          </p:cNvPr>
          <p:cNvSpPr/>
          <p:nvPr userDrawn="1"/>
        </p:nvSpPr>
        <p:spPr>
          <a:xfrm>
            <a:off x="620851" y="6136760"/>
            <a:ext cx="166575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09721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bject 2">
            <a:extLst>
              <a:ext uri="{FF2B5EF4-FFF2-40B4-BE49-F238E27FC236}">
                <a16:creationId xmlns:a16="http://schemas.microsoft.com/office/drawing/2014/main" id="{9673ADB8-E5D1-124A-8C4A-2DD75998A228}"/>
              </a:ext>
            </a:extLst>
          </p:cNvPr>
          <p:cNvSpPr/>
          <p:nvPr userDrawn="1"/>
        </p:nvSpPr>
        <p:spPr>
          <a:xfrm>
            <a:off x="1" y="0"/>
            <a:ext cx="12191999" cy="685751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DCE2317-9465-B44C-889D-A5E7352B42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81"/>
            <a:ext cx="12192000" cy="6857519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CE58E494-1C6C-6048-95A4-E67DC56D17E1}"/>
              </a:ext>
            </a:extLst>
          </p:cNvPr>
          <p:cNvGrpSpPr/>
          <p:nvPr userDrawn="1"/>
        </p:nvGrpSpPr>
        <p:grpSpPr>
          <a:xfrm>
            <a:off x="8986233" y="302269"/>
            <a:ext cx="2774642" cy="1163669"/>
            <a:chOff x="14817924" y="781197"/>
            <a:chExt cx="4575269" cy="1918977"/>
          </a:xfrm>
        </p:grpSpPr>
        <p:sp>
          <p:nvSpPr>
            <p:cNvPr id="6" name="object 6">
              <a:extLst>
                <a:ext uri="{FF2B5EF4-FFF2-40B4-BE49-F238E27FC236}">
                  <a16:creationId xmlns:a16="http://schemas.microsoft.com/office/drawing/2014/main" id="{988D07A3-0940-0A42-8A69-CD338296E901}"/>
                </a:ext>
              </a:extLst>
            </p:cNvPr>
            <p:cNvSpPr/>
            <p:nvPr/>
          </p:nvSpPr>
          <p:spPr>
            <a:xfrm>
              <a:off x="14817924" y="2494651"/>
              <a:ext cx="87452" cy="154822"/>
            </a:xfrm>
            <a:prstGeom prst="rect">
              <a:avLst/>
            </a:prstGeom>
            <a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30B6986F-75AA-4742-977C-6A4BC896B03F}"/>
                </a:ext>
              </a:extLst>
            </p:cNvPr>
            <p:cNvSpPr/>
            <p:nvPr/>
          </p:nvSpPr>
          <p:spPr>
            <a:xfrm>
              <a:off x="14931724" y="2542744"/>
              <a:ext cx="85630" cy="106719"/>
            </a:xfrm>
            <a:prstGeom prst="rect">
              <a:avLst/>
            </a:prstGeom>
            <a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8" name="object 8">
              <a:extLst>
                <a:ext uri="{FF2B5EF4-FFF2-40B4-BE49-F238E27FC236}">
                  <a16:creationId xmlns:a16="http://schemas.microsoft.com/office/drawing/2014/main" id="{831D4405-7C33-EE49-83D0-0DFBF1B03A36}"/>
                </a:ext>
              </a:extLst>
            </p:cNvPr>
            <p:cNvSpPr/>
            <p:nvPr/>
          </p:nvSpPr>
          <p:spPr>
            <a:xfrm>
              <a:off x="15096148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790" y="48082"/>
                  </a:lnTo>
                  <a:lnTo>
                    <a:pt x="3790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14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14" y="28417"/>
                  </a:lnTo>
                  <a:lnTo>
                    <a:pt x="28407" y="22104"/>
                  </a:lnTo>
                  <a:lnTo>
                    <a:pt x="28407" y="6272"/>
                  </a:lnTo>
                  <a:lnTo>
                    <a:pt x="2211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9" name="object 9">
              <a:extLst>
                <a:ext uri="{FF2B5EF4-FFF2-40B4-BE49-F238E27FC236}">
                  <a16:creationId xmlns:a16="http://schemas.microsoft.com/office/drawing/2014/main" id="{F10C3FDC-3B9C-F943-A57A-8203A4553305}"/>
                </a:ext>
              </a:extLst>
            </p:cNvPr>
            <p:cNvSpPr/>
            <p:nvPr/>
          </p:nvSpPr>
          <p:spPr>
            <a:xfrm>
              <a:off x="16034821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821" y="48082"/>
                  </a:lnTo>
                  <a:lnTo>
                    <a:pt x="3821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24" y="0"/>
                  </a:moveTo>
                  <a:lnTo>
                    <a:pt x="629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293" y="28417"/>
                  </a:lnTo>
                  <a:lnTo>
                    <a:pt x="22124" y="28417"/>
                  </a:lnTo>
                  <a:lnTo>
                    <a:pt x="28428" y="22104"/>
                  </a:lnTo>
                  <a:lnTo>
                    <a:pt x="28428" y="6272"/>
                  </a:lnTo>
                  <a:lnTo>
                    <a:pt x="221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0" name="object 10">
              <a:extLst>
                <a:ext uri="{FF2B5EF4-FFF2-40B4-BE49-F238E27FC236}">
                  <a16:creationId xmlns:a16="http://schemas.microsoft.com/office/drawing/2014/main" id="{6DC94C29-8843-4A4F-882E-11F5742BDC36}"/>
                </a:ext>
              </a:extLst>
            </p:cNvPr>
            <p:cNvSpPr/>
            <p:nvPr/>
          </p:nvSpPr>
          <p:spPr>
            <a:xfrm>
              <a:off x="16678738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292" y="48082"/>
                  </a:moveTo>
                  <a:lnTo>
                    <a:pt x="3790" y="48082"/>
                  </a:lnTo>
                  <a:lnTo>
                    <a:pt x="3790" y="149524"/>
                  </a:lnTo>
                  <a:lnTo>
                    <a:pt x="24292" y="149524"/>
                  </a:lnTo>
                  <a:lnTo>
                    <a:pt x="24292" y="48082"/>
                  </a:lnTo>
                  <a:close/>
                </a:path>
                <a:path w="28575" h="149860">
                  <a:moveTo>
                    <a:pt x="22104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04" y="28417"/>
                  </a:lnTo>
                  <a:lnTo>
                    <a:pt x="28397" y="22104"/>
                  </a:lnTo>
                  <a:lnTo>
                    <a:pt x="28397" y="6272"/>
                  </a:lnTo>
                  <a:lnTo>
                    <a:pt x="2210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7D8BD669-B8D4-7848-80E7-1C8D4904BAED}"/>
                </a:ext>
              </a:extLst>
            </p:cNvPr>
            <p:cNvSpPr/>
            <p:nvPr/>
          </p:nvSpPr>
          <p:spPr>
            <a:xfrm>
              <a:off x="15443530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800" y="48082"/>
                  </a:lnTo>
                  <a:lnTo>
                    <a:pt x="3800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35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35" y="28417"/>
                  </a:lnTo>
                  <a:lnTo>
                    <a:pt x="28417" y="22104"/>
                  </a:lnTo>
                  <a:lnTo>
                    <a:pt x="28417" y="6272"/>
                  </a:lnTo>
                  <a:lnTo>
                    <a:pt x="2213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989DAB23-E9EF-C14F-B9C4-929E36182A25}"/>
                </a:ext>
              </a:extLst>
            </p:cNvPr>
            <p:cNvSpPr/>
            <p:nvPr/>
          </p:nvSpPr>
          <p:spPr>
            <a:xfrm>
              <a:off x="15144446" y="2542744"/>
              <a:ext cx="192678" cy="106719"/>
            </a:xfrm>
            <a:prstGeom prst="rect">
              <a:avLst/>
            </a:prstGeom>
            <a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066B0F2C-E5DF-704B-A18A-F55897F9141C}"/>
                </a:ext>
              </a:extLst>
            </p:cNvPr>
            <p:cNvSpPr/>
            <p:nvPr/>
          </p:nvSpPr>
          <p:spPr>
            <a:xfrm>
              <a:off x="15363480" y="2542744"/>
              <a:ext cx="59690" cy="104139"/>
            </a:xfrm>
            <a:custGeom>
              <a:avLst/>
              <a:gdLst/>
              <a:ahLst/>
              <a:cxnLst/>
              <a:rect l="l" t="t" r="r" b="b"/>
              <a:pathLst>
                <a:path w="59690" h="104139">
                  <a:moveTo>
                    <a:pt x="13999" y="2628"/>
                  </a:moveTo>
                  <a:lnTo>
                    <a:pt x="0" y="2628"/>
                  </a:lnTo>
                  <a:lnTo>
                    <a:pt x="0" y="104080"/>
                  </a:lnTo>
                  <a:lnTo>
                    <a:pt x="20878" y="104080"/>
                  </a:lnTo>
                  <a:lnTo>
                    <a:pt x="20878" y="24135"/>
                  </a:lnTo>
                  <a:lnTo>
                    <a:pt x="26794" y="21496"/>
                  </a:lnTo>
                  <a:lnTo>
                    <a:pt x="33674" y="19255"/>
                  </a:lnTo>
                  <a:lnTo>
                    <a:pt x="59443" y="19255"/>
                  </a:lnTo>
                  <a:lnTo>
                    <a:pt x="59443" y="8303"/>
                  </a:lnTo>
                  <a:lnTo>
                    <a:pt x="16020" y="8303"/>
                  </a:lnTo>
                  <a:lnTo>
                    <a:pt x="13999" y="2628"/>
                  </a:lnTo>
                  <a:close/>
                </a:path>
                <a:path w="59690" h="104139">
                  <a:moveTo>
                    <a:pt x="59443" y="19255"/>
                  </a:moveTo>
                  <a:lnTo>
                    <a:pt x="48501" y="19255"/>
                  </a:lnTo>
                  <a:lnTo>
                    <a:pt x="54364" y="20481"/>
                  </a:lnTo>
                  <a:lnTo>
                    <a:pt x="59443" y="22302"/>
                  </a:lnTo>
                  <a:lnTo>
                    <a:pt x="59443" y="19255"/>
                  </a:lnTo>
                  <a:close/>
                </a:path>
                <a:path w="59690" h="104139">
                  <a:moveTo>
                    <a:pt x="48909" y="0"/>
                  </a:moveTo>
                  <a:lnTo>
                    <a:pt x="44427" y="0"/>
                  </a:lnTo>
                  <a:lnTo>
                    <a:pt x="37022" y="527"/>
                  </a:lnTo>
                  <a:lnTo>
                    <a:pt x="29764" y="2098"/>
                  </a:lnTo>
                  <a:lnTo>
                    <a:pt x="22737" y="4695"/>
                  </a:lnTo>
                  <a:lnTo>
                    <a:pt x="16020" y="8303"/>
                  </a:lnTo>
                  <a:lnTo>
                    <a:pt x="59443" y="8303"/>
                  </a:lnTo>
                  <a:lnTo>
                    <a:pt x="59443" y="1612"/>
                  </a:lnTo>
                  <a:lnTo>
                    <a:pt x="54993" y="607"/>
                  </a:lnTo>
                  <a:lnTo>
                    <a:pt x="489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F5949A49-32CF-984C-8B66-5F0F8599F7B8}"/>
                </a:ext>
              </a:extLst>
            </p:cNvPr>
            <p:cNvSpPr/>
            <p:nvPr/>
          </p:nvSpPr>
          <p:spPr>
            <a:xfrm>
              <a:off x="15501005" y="2542734"/>
              <a:ext cx="199600" cy="157440"/>
            </a:xfrm>
            <a:prstGeom prst="rect">
              <a:avLst/>
            </a:prstGeom>
            <a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5" name="object 15">
              <a:extLst>
                <a:ext uri="{FF2B5EF4-FFF2-40B4-BE49-F238E27FC236}">
                  <a16:creationId xmlns:a16="http://schemas.microsoft.com/office/drawing/2014/main" id="{ABFE3AD2-32C6-ED43-919B-CD3D7C50C9E1}"/>
                </a:ext>
              </a:extLst>
            </p:cNvPr>
            <p:cNvSpPr/>
            <p:nvPr/>
          </p:nvSpPr>
          <p:spPr>
            <a:xfrm>
              <a:off x="15844767" y="2542744"/>
              <a:ext cx="59690" cy="104139"/>
            </a:xfrm>
            <a:custGeom>
              <a:avLst/>
              <a:gdLst/>
              <a:ahLst/>
              <a:cxnLst/>
              <a:rect l="l" t="t" r="r" b="b"/>
              <a:pathLst>
                <a:path w="59690" h="104139">
                  <a:moveTo>
                    <a:pt x="14020" y="2628"/>
                  </a:moveTo>
                  <a:lnTo>
                    <a:pt x="0" y="2628"/>
                  </a:lnTo>
                  <a:lnTo>
                    <a:pt x="0" y="104080"/>
                  </a:lnTo>
                  <a:lnTo>
                    <a:pt x="20920" y="104080"/>
                  </a:lnTo>
                  <a:lnTo>
                    <a:pt x="20920" y="24135"/>
                  </a:lnTo>
                  <a:lnTo>
                    <a:pt x="26774" y="21496"/>
                  </a:lnTo>
                  <a:lnTo>
                    <a:pt x="33695" y="19255"/>
                  </a:lnTo>
                  <a:lnTo>
                    <a:pt x="59464" y="19255"/>
                  </a:lnTo>
                  <a:lnTo>
                    <a:pt x="59464" y="8303"/>
                  </a:lnTo>
                  <a:lnTo>
                    <a:pt x="16041" y="8303"/>
                  </a:lnTo>
                  <a:lnTo>
                    <a:pt x="14020" y="2628"/>
                  </a:lnTo>
                  <a:close/>
                </a:path>
                <a:path w="59690" h="104139">
                  <a:moveTo>
                    <a:pt x="59464" y="19255"/>
                  </a:moveTo>
                  <a:lnTo>
                    <a:pt x="48501" y="19255"/>
                  </a:lnTo>
                  <a:lnTo>
                    <a:pt x="54385" y="20481"/>
                  </a:lnTo>
                  <a:lnTo>
                    <a:pt x="59464" y="22302"/>
                  </a:lnTo>
                  <a:lnTo>
                    <a:pt x="59464" y="19255"/>
                  </a:lnTo>
                  <a:close/>
                </a:path>
                <a:path w="59690" h="104139">
                  <a:moveTo>
                    <a:pt x="48909" y="0"/>
                  </a:moveTo>
                  <a:lnTo>
                    <a:pt x="44427" y="0"/>
                  </a:lnTo>
                  <a:lnTo>
                    <a:pt x="37025" y="527"/>
                  </a:lnTo>
                  <a:lnTo>
                    <a:pt x="29775" y="2098"/>
                  </a:lnTo>
                  <a:lnTo>
                    <a:pt x="22754" y="4695"/>
                  </a:lnTo>
                  <a:lnTo>
                    <a:pt x="16041" y="8303"/>
                  </a:lnTo>
                  <a:lnTo>
                    <a:pt x="59464" y="8303"/>
                  </a:lnTo>
                  <a:lnTo>
                    <a:pt x="59464" y="1612"/>
                  </a:lnTo>
                  <a:lnTo>
                    <a:pt x="54993" y="607"/>
                  </a:lnTo>
                  <a:lnTo>
                    <a:pt x="489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6" name="object 16">
              <a:extLst>
                <a:ext uri="{FF2B5EF4-FFF2-40B4-BE49-F238E27FC236}">
                  <a16:creationId xmlns:a16="http://schemas.microsoft.com/office/drawing/2014/main" id="{6EA42F7F-35EB-034A-977D-6915BDF3B4CC}"/>
                </a:ext>
              </a:extLst>
            </p:cNvPr>
            <p:cNvSpPr/>
            <p:nvPr/>
          </p:nvSpPr>
          <p:spPr>
            <a:xfrm>
              <a:off x="15924490" y="2542744"/>
              <a:ext cx="85630" cy="106719"/>
            </a:xfrm>
            <a:prstGeom prst="rect">
              <a:avLst/>
            </a:prstGeom>
            <a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7" name="object 17">
              <a:extLst>
                <a:ext uri="{FF2B5EF4-FFF2-40B4-BE49-F238E27FC236}">
                  <a16:creationId xmlns:a16="http://schemas.microsoft.com/office/drawing/2014/main" id="{856F3CDD-B521-754D-9F17-33D01AF2FC5D}"/>
                </a:ext>
              </a:extLst>
            </p:cNvPr>
            <p:cNvSpPr/>
            <p:nvPr/>
          </p:nvSpPr>
          <p:spPr>
            <a:xfrm>
              <a:off x="16083729" y="2542734"/>
              <a:ext cx="98991" cy="157440"/>
            </a:xfrm>
            <a:prstGeom prst="rect">
              <a:avLst/>
            </a:prstGeom>
            <a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26B44690-08F5-394D-9C32-DFA8AEB8E95B}"/>
                </a:ext>
              </a:extLst>
            </p:cNvPr>
            <p:cNvSpPr/>
            <p:nvPr/>
          </p:nvSpPr>
          <p:spPr>
            <a:xfrm>
              <a:off x="16203392" y="2494664"/>
              <a:ext cx="81327" cy="152152"/>
            </a:xfrm>
            <a:prstGeom prst="rect">
              <a:avLst/>
            </a:prstGeom>
            <a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9" name="object 19">
              <a:extLst>
                <a:ext uri="{FF2B5EF4-FFF2-40B4-BE49-F238E27FC236}">
                  <a16:creationId xmlns:a16="http://schemas.microsoft.com/office/drawing/2014/main" id="{82F79D31-ADC0-544C-BE4D-9AF0D38D20F9}"/>
                </a:ext>
              </a:extLst>
            </p:cNvPr>
            <p:cNvSpPr/>
            <p:nvPr/>
          </p:nvSpPr>
          <p:spPr>
            <a:xfrm>
              <a:off x="16435528" y="2542744"/>
              <a:ext cx="162704" cy="106719"/>
            </a:xfrm>
            <a:prstGeom prst="rect">
              <a:avLst/>
            </a:prstGeom>
            <a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0" name="object 20">
              <a:extLst>
                <a:ext uri="{FF2B5EF4-FFF2-40B4-BE49-F238E27FC236}">
                  <a16:creationId xmlns:a16="http://schemas.microsoft.com/office/drawing/2014/main" id="{749719E9-7629-0D43-B014-D5EF4E13BC42}"/>
                </a:ext>
              </a:extLst>
            </p:cNvPr>
            <p:cNvSpPr/>
            <p:nvPr/>
          </p:nvSpPr>
          <p:spPr>
            <a:xfrm>
              <a:off x="16733088" y="2542749"/>
              <a:ext cx="81128" cy="106708"/>
            </a:xfrm>
            <a:prstGeom prst="rect">
              <a:avLst/>
            </a:prstGeom>
            <a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1" name="object 21">
              <a:extLst>
                <a:ext uri="{FF2B5EF4-FFF2-40B4-BE49-F238E27FC236}">
                  <a16:creationId xmlns:a16="http://schemas.microsoft.com/office/drawing/2014/main" id="{8D20C62F-8BDC-8949-9BEF-237EE7D4E653}"/>
                </a:ext>
              </a:extLst>
            </p:cNvPr>
            <p:cNvSpPr/>
            <p:nvPr/>
          </p:nvSpPr>
          <p:spPr>
            <a:xfrm>
              <a:off x="16842601" y="2494645"/>
              <a:ext cx="87442" cy="154801"/>
            </a:xfrm>
            <a:prstGeom prst="rect">
              <a:avLst/>
            </a:prstGeom>
            <a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2" name="object 22">
              <a:extLst>
                <a:ext uri="{FF2B5EF4-FFF2-40B4-BE49-F238E27FC236}">
                  <a16:creationId xmlns:a16="http://schemas.microsoft.com/office/drawing/2014/main" id="{27E8ACD7-1E2A-0C4F-93E3-0886E0B9D56E}"/>
                </a:ext>
              </a:extLst>
            </p:cNvPr>
            <p:cNvSpPr/>
            <p:nvPr/>
          </p:nvSpPr>
          <p:spPr>
            <a:xfrm>
              <a:off x="17003059" y="2545373"/>
              <a:ext cx="94353" cy="152162"/>
            </a:xfrm>
            <a:prstGeom prst="rect">
              <a:avLst/>
            </a:prstGeom>
            <a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3" name="object 23">
              <a:extLst>
                <a:ext uri="{FF2B5EF4-FFF2-40B4-BE49-F238E27FC236}">
                  <a16:creationId xmlns:a16="http://schemas.microsoft.com/office/drawing/2014/main" id="{0C46363A-0B6B-6D4B-8603-8D0B46C19AAC}"/>
                </a:ext>
              </a:extLst>
            </p:cNvPr>
            <p:cNvSpPr/>
            <p:nvPr/>
          </p:nvSpPr>
          <p:spPr>
            <a:xfrm>
              <a:off x="15056164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49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4" name="object 24">
              <a:extLst>
                <a:ext uri="{FF2B5EF4-FFF2-40B4-BE49-F238E27FC236}">
                  <a16:creationId xmlns:a16="http://schemas.microsoft.com/office/drawing/2014/main" id="{484959F2-EC34-1F4F-904E-E9EE95EC816F}"/>
                </a:ext>
              </a:extLst>
            </p:cNvPr>
            <p:cNvSpPr/>
            <p:nvPr/>
          </p:nvSpPr>
          <p:spPr>
            <a:xfrm>
              <a:off x="16637037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5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63E8624E-5A3B-0D45-BAD7-9DA598F7C26D}"/>
                </a:ext>
              </a:extLst>
            </p:cNvPr>
            <p:cNvSpPr/>
            <p:nvPr/>
          </p:nvSpPr>
          <p:spPr>
            <a:xfrm>
              <a:off x="16968897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50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6" name="object 26">
              <a:extLst>
                <a:ext uri="{FF2B5EF4-FFF2-40B4-BE49-F238E27FC236}">
                  <a16:creationId xmlns:a16="http://schemas.microsoft.com/office/drawing/2014/main" id="{F585B409-CD62-9246-9092-11DDAC75585B}"/>
                </a:ext>
              </a:extLst>
            </p:cNvPr>
            <p:cNvSpPr/>
            <p:nvPr/>
          </p:nvSpPr>
          <p:spPr>
            <a:xfrm>
              <a:off x="16312543" y="2512005"/>
              <a:ext cx="51435" cy="137795"/>
            </a:xfrm>
            <a:custGeom>
              <a:avLst/>
              <a:gdLst/>
              <a:ahLst/>
              <a:cxnLst/>
              <a:rect l="l" t="t" r="r" b="b"/>
              <a:pathLst>
                <a:path w="51434" h="137794">
                  <a:moveTo>
                    <a:pt x="20805" y="0"/>
                  </a:moveTo>
                  <a:lnTo>
                    <a:pt x="0" y="5758"/>
                  </a:lnTo>
                  <a:lnTo>
                    <a:pt x="0" y="108593"/>
                  </a:lnTo>
                  <a:lnTo>
                    <a:pt x="2937" y="121631"/>
                  </a:lnTo>
                  <a:lnTo>
                    <a:pt x="10667" y="130611"/>
                  </a:lnTo>
                  <a:lnTo>
                    <a:pt x="21565" y="135801"/>
                  </a:lnTo>
                  <a:lnTo>
                    <a:pt x="34009" y="137472"/>
                  </a:lnTo>
                  <a:lnTo>
                    <a:pt x="41852" y="137472"/>
                  </a:lnTo>
                  <a:lnTo>
                    <a:pt x="46982" y="136205"/>
                  </a:lnTo>
                  <a:lnTo>
                    <a:pt x="46982" y="117849"/>
                  </a:lnTo>
                  <a:lnTo>
                    <a:pt x="26585" y="117849"/>
                  </a:lnTo>
                  <a:lnTo>
                    <a:pt x="20805" y="115399"/>
                  </a:lnTo>
                  <a:lnTo>
                    <a:pt x="20805" y="49851"/>
                  </a:lnTo>
                  <a:lnTo>
                    <a:pt x="51317" y="49851"/>
                  </a:lnTo>
                  <a:lnTo>
                    <a:pt x="51317" y="31726"/>
                  </a:lnTo>
                  <a:lnTo>
                    <a:pt x="20805" y="31726"/>
                  </a:lnTo>
                  <a:lnTo>
                    <a:pt x="20805" y="0"/>
                  </a:lnTo>
                  <a:close/>
                </a:path>
                <a:path w="51434" h="137794">
                  <a:moveTo>
                    <a:pt x="46982" y="117054"/>
                  </a:moveTo>
                  <a:lnTo>
                    <a:pt x="44731" y="117462"/>
                  </a:lnTo>
                  <a:lnTo>
                    <a:pt x="39559" y="117849"/>
                  </a:lnTo>
                  <a:lnTo>
                    <a:pt x="46982" y="117849"/>
                  </a:lnTo>
                  <a:lnTo>
                    <a:pt x="46982" y="11705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7" name="object 27">
              <a:extLst>
                <a:ext uri="{FF2B5EF4-FFF2-40B4-BE49-F238E27FC236}">
                  <a16:creationId xmlns:a16="http://schemas.microsoft.com/office/drawing/2014/main" id="{3FAD4E42-952E-D149-99A0-372A21AD6CE7}"/>
                </a:ext>
              </a:extLst>
            </p:cNvPr>
            <p:cNvSpPr/>
            <p:nvPr/>
          </p:nvSpPr>
          <p:spPr>
            <a:xfrm>
              <a:off x="15771907" y="2491999"/>
              <a:ext cx="51435" cy="154940"/>
            </a:xfrm>
            <a:custGeom>
              <a:avLst/>
              <a:gdLst/>
              <a:ahLst/>
              <a:cxnLst/>
              <a:rect l="l" t="t" r="r" b="b"/>
              <a:pathLst>
                <a:path w="51434" h="154939">
                  <a:moveTo>
                    <a:pt x="41831" y="0"/>
                  </a:moveTo>
                  <a:lnTo>
                    <a:pt x="34030" y="0"/>
                  </a:lnTo>
                  <a:lnTo>
                    <a:pt x="21574" y="1670"/>
                  </a:lnTo>
                  <a:lnTo>
                    <a:pt x="10669" y="6861"/>
                  </a:lnTo>
                  <a:lnTo>
                    <a:pt x="2937" y="15840"/>
                  </a:lnTo>
                  <a:lnTo>
                    <a:pt x="0" y="28878"/>
                  </a:lnTo>
                  <a:lnTo>
                    <a:pt x="0" y="154812"/>
                  </a:lnTo>
                  <a:lnTo>
                    <a:pt x="20805" y="154812"/>
                  </a:lnTo>
                  <a:lnTo>
                    <a:pt x="20805" y="71505"/>
                  </a:lnTo>
                  <a:lnTo>
                    <a:pt x="51338" y="71505"/>
                  </a:lnTo>
                  <a:lnTo>
                    <a:pt x="51338" y="53380"/>
                  </a:lnTo>
                  <a:lnTo>
                    <a:pt x="20805" y="53380"/>
                  </a:lnTo>
                  <a:lnTo>
                    <a:pt x="20805" y="22072"/>
                  </a:lnTo>
                  <a:lnTo>
                    <a:pt x="26564" y="19601"/>
                  </a:lnTo>
                  <a:lnTo>
                    <a:pt x="46982" y="19601"/>
                  </a:lnTo>
                  <a:lnTo>
                    <a:pt x="46982" y="1246"/>
                  </a:lnTo>
                  <a:lnTo>
                    <a:pt x="41831" y="0"/>
                  </a:lnTo>
                  <a:close/>
                </a:path>
                <a:path w="51434" h="154939">
                  <a:moveTo>
                    <a:pt x="46982" y="19601"/>
                  </a:moveTo>
                  <a:lnTo>
                    <a:pt x="39569" y="19601"/>
                  </a:lnTo>
                  <a:lnTo>
                    <a:pt x="44721" y="20009"/>
                  </a:lnTo>
                  <a:lnTo>
                    <a:pt x="46982" y="20418"/>
                  </a:lnTo>
                  <a:lnTo>
                    <a:pt x="46982" y="196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1AEE6AD3-D5D8-4240-A700-2B0E39D9FFC8}"/>
                </a:ext>
              </a:extLst>
            </p:cNvPr>
            <p:cNvSpPr/>
            <p:nvPr/>
          </p:nvSpPr>
          <p:spPr>
            <a:xfrm>
              <a:off x="17093362" y="1336135"/>
              <a:ext cx="612140" cy="353695"/>
            </a:xfrm>
            <a:custGeom>
              <a:avLst/>
              <a:gdLst/>
              <a:ahLst/>
              <a:cxnLst/>
              <a:rect l="l" t="t" r="r" b="b"/>
              <a:pathLst>
                <a:path w="612140" h="353694">
                  <a:moveTo>
                    <a:pt x="611656" y="0"/>
                  </a:moveTo>
                  <a:lnTo>
                    <a:pt x="0" y="20"/>
                  </a:lnTo>
                  <a:lnTo>
                    <a:pt x="203910" y="353162"/>
                  </a:lnTo>
                  <a:lnTo>
                    <a:pt x="407767" y="353162"/>
                  </a:lnTo>
                  <a:lnTo>
                    <a:pt x="611656" y="0"/>
                  </a:lnTo>
                  <a:close/>
                </a:path>
              </a:pathLst>
            </a:custGeom>
            <a:solidFill>
              <a:srgbClr val="85BD3E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9" name="object 29">
              <a:extLst>
                <a:ext uri="{FF2B5EF4-FFF2-40B4-BE49-F238E27FC236}">
                  <a16:creationId xmlns:a16="http://schemas.microsoft.com/office/drawing/2014/main" id="{F0AF6F60-B5C8-034E-9CB0-F5F2FEE248E5}"/>
                </a:ext>
              </a:extLst>
            </p:cNvPr>
            <p:cNvSpPr/>
            <p:nvPr/>
          </p:nvSpPr>
          <p:spPr>
            <a:xfrm>
              <a:off x="17471866" y="1336132"/>
              <a:ext cx="1165860" cy="1009650"/>
            </a:xfrm>
            <a:custGeom>
              <a:avLst/>
              <a:gdLst/>
              <a:ahLst/>
              <a:cxnLst/>
              <a:rect l="l" t="t" r="r" b="b"/>
              <a:pathLst>
                <a:path w="1165859" h="1009650">
                  <a:moveTo>
                    <a:pt x="961363" y="0"/>
                  </a:moveTo>
                  <a:lnTo>
                    <a:pt x="378805" y="41"/>
                  </a:lnTo>
                  <a:lnTo>
                    <a:pt x="0" y="655665"/>
                  </a:lnTo>
                  <a:lnTo>
                    <a:pt x="204046" y="1009026"/>
                  </a:lnTo>
                  <a:lnTo>
                    <a:pt x="582683" y="353162"/>
                  </a:lnTo>
                  <a:lnTo>
                    <a:pt x="1165388" y="353162"/>
                  </a:lnTo>
                  <a:lnTo>
                    <a:pt x="961363" y="0"/>
                  </a:lnTo>
                  <a:close/>
                </a:path>
              </a:pathLst>
            </a:custGeom>
            <a:solidFill>
              <a:srgbClr val="E63023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125205B5-8411-4A45-A066-6B1F267005F4}"/>
                </a:ext>
              </a:extLst>
            </p:cNvPr>
            <p:cNvSpPr/>
            <p:nvPr/>
          </p:nvSpPr>
          <p:spPr>
            <a:xfrm>
              <a:off x="17602493" y="781197"/>
              <a:ext cx="1790700" cy="201930"/>
            </a:xfrm>
            <a:custGeom>
              <a:avLst/>
              <a:gdLst/>
              <a:ahLst/>
              <a:cxnLst/>
              <a:rect l="l" t="t" r="r" b="b"/>
              <a:pathLst>
                <a:path w="1790700" h="201930">
                  <a:moveTo>
                    <a:pt x="328136" y="0"/>
                  </a:moveTo>
                  <a:lnTo>
                    <a:pt x="208370" y="0"/>
                  </a:lnTo>
                  <a:lnTo>
                    <a:pt x="208370" y="201784"/>
                  </a:lnTo>
                  <a:lnTo>
                    <a:pt x="258829" y="201784"/>
                  </a:lnTo>
                  <a:lnTo>
                    <a:pt x="258829" y="122991"/>
                  </a:lnTo>
                  <a:lnTo>
                    <a:pt x="364700" y="122991"/>
                  </a:lnTo>
                  <a:lnTo>
                    <a:pt x="359287" y="113609"/>
                  </a:lnTo>
                  <a:lnTo>
                    <a:pt x="369823" y="104711"/>
                  </a:lnTo>
                  <a:lnTo>
                    <a:pt x="377924" y="93525"/>
                  </a:lnTo>
                  <a:lnTo>
                    <a:pt x="383125" y="80510"/>
                  </a:lnTo>
                  <a:lnTo>
                    <a:pt x="383340" y="78824"/>
                  </a:lnTo>
                  <a:lnTo>
                    <a:pt x="258829" y="78824"/>
                  </a:lnTo>
                  <a:lnTo>
                    <a:pt x="258829" y="44145"/>
                  </a:lnTo>
                  <a:lnTo>
                    <a:pt x="382315" y="44145"/>
                  </a:lnTo>
                  <a:lnTo>
                    <a:pt x="380421" y="34716"/>
                  </a:lnTo>
                  <a:lnTo>
                    <a:pt x="368281" y="16647"/>
                  </a:lnTo>
                  <a:lnTo>
                    <a:pt x="350253" y="4466"/>
                  </a:lnTo>
                  <a:lnTo>
                    <a:pt x="328136" y="0"/>
                  </a:lnTo>
                  <a:close/>
                </a:path>
                <a:path w="1790700" h="201930">
                  <a:moveTo>
                    <a:pt x="364700" y="122991"/>
                  </a:moveTo>
                  <a:lnTo>
                    <a:pt x="313498" y="122991"/>
                  </a:lnTo>
                  <a:lnTo>
                    <a:pt x="358994" y="201784"/>
                  </a:lnTo>
                  <a:lnTo>
                    <a:pt x="410165" y="201784"/>
                  </a:lnTo>
                  <a:lnTo>
                    <a:pt x="364700" y="122991"/>
                  </a:lnTo>
                  <a:close/>
                </a:path>
                <a:path w="1790700" h="201930">
                  <a:moveTo>
                    <a:pt x="566139" y="0"/>
                  </a:moveTo>
                  <a:lnTo>
                    <a:pt x="512445" y="0"/>
                  </a:lnTo>
                  <a:lnTo>
                    <a:pt x="410165" y="201784"/>
                  </a:lnTo>
                  <a:lnTo>
                    <a:pt x="463849" y="201784"/>
                  </a:lnTo>
                  <a:lnTo>
                    <a:pt x="489398" y="151346"/>
                  </a:lnTo>
                  <a:lnTo>
                    <a:pt x="642861" y="151346"/>
                  </a:lnTo>
                  <a:lnTo>
                    <a:pt x="620472" y="107179"/>
                  </a:lnTo>
                  <a:lnTo>
                    <a:pt x="511785" y="107179"/>
                  </a:lnTo>
                  <a:lnTo>
                    <a:pt x="539282" y="52898"/>
                  </a:lnTo>
                  <a:lnTo>
                    <a:pt x="592955" y="52898"/>
                  </a:lnTo>
                  <a:lnTo>
                    <a:pt x="566139" y="0"/>
                  </a:lnTo>
                  <a:close/>
                </a:path>
                <a:path w="1790700" h="201930">
                  <a:moveTo>
                    <a:pt x="642861" y="151346"/>
                  </a:moveTo>
                  <a:lnTo>
                    <a:pt x="589186" y="151346"/>
                  </a:lnTo>
                  <a:lnTo>
                    <a:pt x="614756" y="201784"/>
                  </a:lnTo>
                  <a:lnTo>
                    <a:pt x="668429" y="201784"/>
                  </a:lnTo>
                  <a:lnTo>
                    <a:pt x="642861" y="151346"/>
                  </a:lnTo>
                  <a:close/>
                </a:path>
                <a:path w="1790700" h="201930">
                  <a:moveTo>
                    <a:pt x="592955" y="52898"/>
                  </a:moveTo>
                  <a:lnTo>
                    <a:pt x="539282" y="52898"/>
                  </a:lnTo>
                  <a:lnTo>
                    <a:pt x="566799" y="107179"/>
                  </a:lnTo>
                  <a:lnTo>
                    <a:pt x="620472" y="107179"/>
                  </a:lnTo>
                  <a:lnTo>
                    <a:pt x="592955" y="52898"/>
                  </a:lnTo>
                  <a:close/>
                </a:path>
                <a:path w="1790700" h="201930">
                  <a:moveTo>
                    <a:pt x="382315" y="44145"/>
                  </a:moveTo>
                  <a:lnTo>
                    <a:pt x="328817" y="44145"/>
                  </a:lnTo>
                  <a:lnTo>
                    <a:pt x="334492" y="49851"/>
                  </a:lnTo>
                  <a:lnTo>
                    <a:pt x="334618" y="73149"/>
                  </a:lnTo>
                  <a:lnTo>
                    <a:pt x="328911" y="78824"/>
                  </a:lnTo>
                  <a:lnTo>
                    <a:pt x="383340" y="78824"/>
                  </a:lnTo>
                  <a:lnTo>
                    <a:pt x="384962" y="66123"/>
                  </a:lnTo>
                  <a:lnTo>
                    <a:pt x="384867" y="56846"/>
                  </a:lnTo>
                  <a:lnTo>
                    <a:pt x="382315" y="44145"/>
                  </a:lnTo>
                  <a:close/>
                </a:path>
                <a:path w="1790700" h="201930">
                  <a:moveTo>
                    <a:pt x="1582820" y="0"/>
                  </a:moveTo>
                  <a:lnTo>
                    <a:pt x="1418888" y="0"/>
                  </a:lnTo>
                  <a:lnTo>
                    <a:pt x="1418888" y="201784"/>
                  </a:lnTo>
                  <a:lnTo>
                    <a:pt x="1582820" y="201784"/>
                  </a:lnTo>
                  <a:lnTo>
                    <a:pt x="1582820" y="157618"/>
                  </a:lnTo>
                  <a:lnTo>
                    <a:pt x="1469295" y="157618"/>
                  </a:lnTo>
                  <a:lnTo>
                    <a:pt x="1469295" y="122970"/>
                  </a:lnTo>
                  <a:lnTo>
                    <a:pt x="1576548" y="122970"/>
                  </a:lnTo>
                  <a:lnTo>
                    <a:pt x="1576548" y="78803"/>
                  </a:lnTo>
                  <a:lnTo>
                    <a:pt x="1469295" y="78803"/>
                  </a:lnTo>
                  <a:lnTo>
                    <a:pt x="1469295" y="44134"/>
                  </a:lnTo>
                  <a:lnTo>
                    <a:pt x="1582820" y="44134"/>
                  </a:lnTo>
                  <a:lnTo>
                    <a:pt x="1582820" y="0"/>
                  </a:lnTo>
                  <a:close/>
                </a:path>
                <a:path w="1790700" h="201930">
                  <a:moveTo>
                    <a:pt x="955436" y="150529"/>
                  </a:moveTo>
                  <a:lnTo>
                    <a:pt x="933301" y="188800"/>
                  </a:lnTo>
                  <a:lnTo>
                    <a:pt x="946596" y="194124"/>
                  </a:lnTo>
                  <a:lnTo>
                    <a:pt x="960510" y="198071"/>
                  </a:lnTo>
                  <a:lnTo>
                    <a:pt x="974981" y="200531"/>
                  </a:lnTo>
                  <a:lnTo>
                    <a:pt x="989948" y="201397"/>
                  </a:lnTo>
                  <a:lnTo>
                    <a:pt x="1065496" y="201376"/>
                  </a:lnTo>
                  <a:lnTo>
                    <a:pt x="1087569" y="196917"/>
                  </a:lnTo>
                  <a:lnTo>
                    <a:pt x="1105565" y="184757"/>
                  </a:lnTo>
                  <a:lnTo>
                    <a:pt x="1117683" y="166721"/>
                  </a:lnTo>
                  <a:lnTo>
                    <a:pt x="1119570" y="157335"/>
                  </a:lnTo>
                  <a:lnTo>
                    <a:pt x="989948" y="157335"/>
                  </a:lnTo>
                  <a:lnTo>
                    <a:pt x="980897" y="156875"/>
                  </a:lnTo>
                  <a:lnTo>
                    <a:pt x="972092" y="155558"/>
                  </a:lnTo>
                  <a:lnTo>
                    <a:pt x="963587" y="153427"/>
                  </a:lnTo>
                  <a:lnTo>
                    <a:pt x="955436" y="150529"/>
                  </a:lnTo>
                  <a:close/>
                </a:path>
                <a:path w="1790700" h="201930">
                  <a:moveTo>
                    <a:pt x="1065464" y="0"/>
                  </a:moveTo>
                  <a:lnTo>
                    <a:pt x="989948" y="0"/>
                  </a:lnTo>
                  <a:lnTo>
                    <a:pt x="967867" y="4455"/>
                  </a:lnTo>
                  <a:lnTo>
                    <a:pt x="949865" y="16610"/>
                  </a:lnTo>
                  <a:lnTo>
                    <a:pt x="937742" y="34645"/>
                  </a:lnTo>
                  <a:lnTo>
                    <a:pt x="933301" y="56741"/>
                  </a:lnTo>
                  <a:lnTo>
                    <a:pt x="933301" y="65966"/>
                  </a:lnTo>
                  <a:lnTo>
                    <a:pt x="937742" y="88065"/>
                  </a:lnTo>
                  <a:lnTo>
                    <a:pt x="949865" y="106108"/>
                  </a:lnTo>
                  <a:lnTo>
                    <a:pt x="967867" y="118270"/>
                  </a:lnTo>
                  <a:lnTo>
                    <a:pt x="989948" y="122729"/>
                  </a:lnTo>
                  <a:lnTo>
                    <a:pt x="1066176" y="122729"/>
                  </a:lnTo>
                  <a:lnTo>
                    <a:pt x="1071852" y="128393"/>
                  </a:lnTo>
                  <a:lnTo>
                    <a:pt x="1071852" y="151628"/>
                  </a:lnTo>
                  <a:lnTo>
                    <a:pt x="1066176" y="157314"/>
                  </a:lnTo>
                  <a:lnTo>
                    <a:pt x="989948" y="157335"/>
                  </a:lnTo>
                  <a:lnTo>
                    <a:pt x="1119570" y="157335"/>
                  </a:lnTo>
                  <a:lnTo>
                    <a:pt x="1122122" y="144634"/>
                  </a:lnTo>
                  <a:lnTo>
                    <a:pt x="1122122" y="135388"/>
                  </a:lnTo>
                  <a:lnTo>
                    <a:pt x="1117683" y="113313"/>
                  </a:lnTo>
                  <a:lnTo>
                    <a:pt x="1105565" y="95283"/>
                  </a:lnTo>
                  <a:lnTo>
                    <a:pt x="1087569" y="83126"/>
                  </a:lnTo>
                  <a:lnTo>
                    <a:pt x="1065496" y="78667"/>
                  </a:lnTo>
                  <a:lnTo>
                    <a:pt x="989247" y="78667"/>
                  </a:lnTo>
                  <a:lnTo>
                    <a:pt x="983551" y="72992"/>
                  </a:lnTo>
                  <a:lnTo>
                    <a:pt x="983551" y="49736"/>
                  </a:lnTo>
                  <a:lnTo>
                    <a:pt x="989247" y="44061"/>
                  </a:lnTo>
                  <a:lnTo>
                    <a:pt x="1096919" y="44061"/>
                  </a:lnTo>
                  <a:lnTo>
                    <a:pt x="1096919" y="3120"/>
                  </a:lnTo>
                  <a:lnTo>
                    <a:pt x="1089567" y="1744"/>
                  </a:lnTo>
                  <a:lnTo>
                    <a:pt x="1081738" y="770"/>
                  </a:lnTo>
                  <a:lnTo>
                    <a:pt x="1073635" y="191"/>
                  </a:lnTo>
                  <a:lnTo>
                    <a:pt x="1065464" y="0"/>
                  </a:lnTo>
                  <a:close/>
                </a:path>
                <a:path w="1790700" h="201930">
                  <a:moveTo>
                    <a:pt x="1096919" y="44061"/>
                  </a:moveTo>
                  <a:lnTo>
                    <a:pt x="1065464" y="44061"/>
                  </a:lnTo>
                  <a:lnTo>
                    <a:pt x="1072436" y="44315"/>
                  </a:lnTo>
                  <a:lnTo>
                    <a:pt x="1081957" y="44998"/>
                  </a:lnTo>
                  <a:lnTo>
                    <a:pt x="1091096" y="45996"/>
                  </a:lnTo>
                  <a:lnTo>
                    <a:pt x="1096919" y="47192"/>
                  </a:lnTo>
                  <a:lnTo>
                    <a:pt x="1096919" y="44061"/>
                  </a:lnTo>
                  <a:close/>
                </a:path>
                <a:path w="1790700" h="201930">
                  <a:moveTo>
                    <a:pt x="1639614" y="0"/>
                  </a:moveTo>
                  <a:lnTo>
                    <a:pt x="1639614" y="201784"/>
                  </a:lnTo>
                  <a:lnTo>
                    <a:pt x="1690074" y="201784"/>
                  </a:lnTo>
                  <a:lnTo>
                    <a:pt x="1690074" y="44145"/>
                  </a:lnTo>
                  <a:lnTo>
                    <a:pt x="1765150" y="44145"/>
                  </a:lnTo>
                  <a:lnTo>
                    <a:pt x="1790667" y="31"/>
                  </a:lnTo>
                  <a:lnTo>
                    <a:pt x="1639614" y="0"/>
                  </a:lnTo>
                  <a:close/>
                </a:path>
                <a:path w="1790700" h="201930">
                  <a:moveTo>
                    <a:pt x="1217093" y="0"/>
                  </a:moveTo>
                  <a:lnTo>
                    <a:pt x="1160341" y="0"/>
                  </a:lnTo>
                  <a:lnTo>
                    <a:pt x="1160341" y="201784"/>
                  </a:lnTo>
                  <a:lnTo>
                    <a:pt x="1210758" y="201784"/>
                  </a:lnTo>
                  <a:lnTo>
                    <a:pt x="1210758" y="69589"/>
                  </a:lnTo>
                  <a:lnTo>
                    <a:pt x="1266900" y="69589"/>
                  </a:lnTo>
                  <a:lnTo>
                    <a:pt x="1217093" y="0"/>
                  </a:lnTo>
                  <a:close/>
                </a:path>
                <a:path w="1790700" h="201930">
                  <a:moveTo>
                    <a:pt x="1266900" y="69589"/>
                  </a:moveTo>
                  <a:lnTo>
                    <a:pt x="1210758" y="69589"/>
                  </a:lnTo>
                  <a:lnTo>
                    <a:pt x="1305363" y="201784"/>
                  </a:lnTo>
                  <a:lnTo>
                    <a:pt x="1362136" y="201784"/>
                  </a:lnTo>
                  <a:lnTo>
                    <a:pt x="1362136" y="132194"/>
                  </a:lnTo>
                  <a:lnTo>
                    <a:pt x="1311708" y="132194"/>
                  </a:lnTo>
                  <a:lnTo>
                    <a:pt x="1266900" y="69589"/>
                  </a:lnTo>
                  <a:close/>
                </a:path>
                <a:path w="1790700" h="201930">
                  <a:moveTo>
                    <a:pt x="1362136" y="188"/>
                  </a:moveTo>
                  <a:lnTo>
                    <a:pt x="1311708" y="188"/>
                  </a:lnTo>
                  <a:lnTo>
                    <a:pt x="1311708" y="132194"/>
                  </a:lnTo>
                  <a:lnTo>
                    <a:pt x="1362136" y="132194"/>
                  </a:lnTo>
                  <a:lnTo>
                    <a:pt x="1362136" y="188"/>
                  </a:lnTo>
                  <a:close/>
                </a:path>
                <a:path w="1790700" h="201930">
                  <a:moveTo>
                    <a:pt x="151607" y="44145"/>
                  </a:moveTo>
                  <a:lnTo>
                    <a:pt x="101138" y="44145"/>
                  </a:lnTo>
                  <a:lnTo>
                    <a:pt x="101138" y="201784"/>
                  </a:lnTo>
                  <a:lnTo>
                    <a:pt x="151607" y="201784"/>
                  </a:lnTo>
                  <a:lnTo>
                    <a:pt x="151607" y="44145"/>
                  </a:lnTo>
                  <a:close/>
                </a:path>
                <a:path w="1790700" h="201930">
                  <a:moveTo>
                    <a:pt x="151607" y="0"/>
                  </a:moveTo>
                  <a:lnTo>
                    <a:pt x="0" y="31"/>
                  </a:lnTo>
                  <a:lnTo>
                    <a:pt x="25496" y="44166"/>
                  </a:lnTo>
                  <a:lnTo>
                    <a:pt x="151607" y="44145"/>
                  </a:lnTo>
                  <a:lnTo>
                    <a:pt x="151607" y="0"/>
                  </a:lnTo>
                  <a:close/>
                </a:path>
                <a:path w="1790700" h="201930">
                  <a:moveTo>
                    <a:pt x="744092" y="0"/>
                  </a:moveTo>
                  <a:lnTo>
                    <a:pt x="687350" y="0"/>
                  </a:lnTo>
                  <a:lnTo>
                    <a:pt x="687350" y="201784"/>
                  </a:lnTo>
                  <a:lnTo>
                    <a:pt x="737768" y="201784"/>
                  </a:lnTo>
                  <a:lnTo>
                    <a:pt x="737768" y="69589"/>
                  </a:lnTo>
                  <a:lnTo>
                    <a:pt x="793893" y="69589"/>
                  </a:lnTo>
                  <a:lnTo>
                    <a:pt x="744092" y="0"/>
                  </a:lnTo>
                  <a:close/>
                </a:path>
                <a:path w="1790700" h="201930">
                  <a:moveTo>
                    <a:pt x="793893" y="69589"/>
                  </a:moveTo>
                  <a:lnTo>
                    <a:pt x="737768" y="69589"/>
                  </a:lnTo>
                  <a:lnTo>
                    <a:pt x="832372" y="201784"/>
                  </a:lnTo>
                  <a:lnTo>
                    <a:pt x="889145" y="201784"/>
                  </a:lnTo>
                  <a:lnTo>
                    <a:pt x="889145" y="132194"/>
                  </a:lnTo>
                  <a:lnTo>
                    <a:pt x="838696" y="132194"/>
                  </a:lnTo>
                  <a:lnTo>
                    <a:pt x="793893" y="69589"/>
                  </a:lnTo>
                  <a:close/>
                </a:path>
                <a:path w="1790700" h="201930">
                  <a:moveTo>
                    <a:pt x="889145" y="188"/>
                  </a:moveTo>
                  <a:lnTo>
                    <a:pt x="838696" y="188"/>
                  </a:lnTo>
                  <a:lnTo>
                    <a:pt x="838696" y="132194"/>
                  </a:lnTo>
                  <a:lnTo>
                    <a:pt x="889145" y="132194"/>
                  </a:lnTo>
                  <a:lnTo>
                    <a:pt x="889145" y="188"/>
                  </a:lnTo>
                  <a:close/>
                </a:path>
              </a:pathLst>
            </a:custGeom>
            <a:solidFill>
              <a:srgbClr val="E63023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31" name="object 4">
            <a:extLst>
              <a:ext uri="{FF2B5EF4-FFF2-40B4-BE49-F238E27FC236}">
                <a16:creationId xmlns:a16="http://schemas.microsoft.com/office/drawing/2014/main" id="{61CF7A6D-5685-6042-A629-3C5635BBC234}"/>
              </a:ext>
            </a:extLst>
          </p:cNvPr>
          <p:cNvSpPr/>
          <p:nvPr userDrawn="1"/>
        </p:nvSpPr>
        <p:spPr>
          <a:xfrm>
            <a:off x="635835" y="2664176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4259071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BEC5ABC-23EE-084A-85FF-B2E1A9D42E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2000" cy="68577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168938-5473-7946-AFE1-2959A4E9E8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" y="242"/>
            <a:ext cx="12192000" cy="6857519"/>
          </a:xfrm>
          <a:prstGeom prst="rect">
            <a:avLst/>
          </a:prstGeom>
        </p:spPr>
      </p:pic>
      <p:sp>
        <p:nvSpPr>
          <p:cNvPr id="9" name="object 11">
            <a:extLst>
              <a:ext uri="{FF2B5EF4-FFF2-40B4-BE49-F238E27FC236}">
                <a16:creationId xmlns:a16="http://schemas.microsoft.com/office/drawing/2014/main" id="{B1AAE19E-3061-7C40-AEC4-9EE6CCAF43D1}"/>
              </a:ext>
            </a:extLst>
          </p:cNvPr>
          <p:cNvSpPr/>
          <p:nvPr userDrawn="1"/>
        </p:nvSpPr>
        <p:spPr>
          <a:xfrm>
            <a:off x="635835" y="3931064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6B080B6-7194-3240-93BB-D36E2458D1B4}"/>
              </a:ext>
            </a:extLst>
          </p:cNvPr>
          <p:cNvGrpSpPr/>
          <p:nvPr userDrawn="1"/>
        </p:nvGrpSpPr>
        <p:grpSpPr>
          <a:xfrm>
            <a:off x="8986233" y="473720"/>
            <a:ext cx="2774642" cy="1163669"/>
            <a:chOff x="14817924" y="781197"/>
            <a:chExt cx="4575269" cy="1918977"/>
          </a:xfrm>
        </p:grpSpPr>
        <p:sp>
          <p:nvSpPr>
            <p:cNvPr id="11" name="object 6">
              <a:extLst>
                <a:ext uri="{FF2B5EF4-FFF2-40B4-BE49-F238E27FC236}">
                  <a16:creationId xmlns:a16="http://schemas.microsoft.com/office/drawing/2014/main" id="{169C230C-9F59-7549-9F33-17FCEEC6130C}"/>
                </a:ext>
              </a:extLst>
            </p:cNvPr>
            <p:cNvSpPr/>
            <p:nvPr/>
          </p:nvSpPr>
          <p:spPr>
            <a:xfrm>
              <a:off x="14817924" y="2494651"/>
              <a:ext cx="87452" cy="154822"/>
            </a:xfrm>
            <a:prstGeom prst="rect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2" name="object 7">
              <a:extLst>
                <a:ext uri="{FF2B5EF4-FFF2-40B4-BE49-F238E27FC236}">
                  <a16:creationId xmlns:a16="http://schemas.microsoft.com/office/drawing/2014/main" id="{DB7958D2-2178-E447-BA2A-02431C505DCE}"/>
                </a:ext>
              </a:extLst>
            </p:cNvPr>
            <p:cNvSpPr/>
            <p:nvPr/>
          </p:nvSpPr>
          <p:spPr>
            <a:xfrm>
              <a:off x="14931724" y="2542744"/>
              <a:ext cx="85630" cy="106719"/>
            </a:xfrm>
            <a:prstGeom prst="rect">
              <a:avLst/>
            </a:pr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3" name="object 8">
              <a:extLst>
                <a:ext uri="{FF2B5EF4-FFF2-40B4-BE49-F238E27FC236}">
                  <a16:creationId xmlns:a16="http://schemas.microsoft.com/office/drawing/2014/main" id="{143BB172-2124-924D-9AAC-A275C6BF467B}"/>
                </a:ext>
              </a:extLst>
            </p:cNvPr>
            <p:cNvSpPr/>
            <p:nvPr/>
          </p:nvSpPr>
          <p:spPr>
            <a:xfrm>
              <a:off x="15096148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790" y="48082"/>
                  </a:lnTo>
                  <a:lnTo>
                    <a:pt x="3790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14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14" y="28417"/>
                  </a:lnTo>
                  <a:lnTo>
                    <a:pt x="28407" y="22104"/>
                  </a:lnTo>
                  <a:lnTo>
                    <a:pt x="28407" y="6272"/>
                  </a:lnTo>
                  <a:lnTo>
                    <a:pt x="2211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4" name="object 9">
              <a:extLst>
                <a:ext uri="{FF2B5EF4-FFF2-40B4-BE49-F238E27FC236}">
                  <a16:creationId xmlns:a16="http://schemas.microsoft.com/office/drawing/2014/main" id="{F2CAB43E-A109-B64A-A95C-3E99F34FADD0}"/>
                </a:ext>
              </a:extLst>
            </p:cNvPr>
            <p:cNvSpPr/>
            <p:nvPr/>
          </p:nvSpPr>
          <p:spPr>
            <a:xfrm>
              <a:off x="16034821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821" y="48082"/>
                  </a:lnTo>
                  <a:lnTo>
                    <a:pt x="3821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24" y="0"/>
                  </a:moveTo>
                  <a:lnTo>
                    <a:pt x="629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293" y="28417"/>
                  </a:lnTo>
                  <a:lnTo>
                    <a:pt x="22124" y="28417"/>
                  </a:lnTo>
                  <a:lnTo>
                    <a:pt x="28428" y="22104"/>
                  </a:lnTo>
                  <a:lnTo>
                    <a:pt x="28428" y="6272"/>
                  </a:lnTo>
                  <a:lnTo>
                    <a:pt x="221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5" name="object 10">
              <a:extLst>
                <a:ext uri="{FF2B5EF4-FFF2-40B4-BE49-F238E27FC236}">
                  <a16:creationId xmlns:a16="http://schemas.microsoft.com/office/drawing/2014/main" id="{FE861E66-55E8-824E-B63D-92F6BA1D3F82}"/>
                </a:ext>
              </a:extLst>
            </p:cNvPr>
            <p:cNvSpPr/>
            <p:nvPr/>
          </p:nvSpPr>
          <p:spPr>
            <a:xfrm>
              <a:off x="16678738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292" y="48082"/>
                  </a:moveTo>
                  <a:lnTo>
                    <a:pt x="3790" y="48082"/>
                  </a:lnTo>
                  <a:lnTo>
                    <a:pt x="3790" y="149524"/>
                  </a:lnTo>
                  <a:lnTo>
                    <a:pt x="24292" y="149524"/>
                  </a:lnTo>
                  <a:lnTo>
                    <a:pt x="24292" y="48082"/>
                  </a:lnTo>
                  <a:close/>
                </a:path>
                <a:path w="28575" h="149860">
                  <a:moveTo>
                    <a:pt x="22104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04" y="28417"/>
                  </a:lnTo>
                  <a:lnTo>
                    <a:pt x="28397" y="22104"/>
                  </a:lnTo>
                  <a:lnTo>
                    <a:pt x="28397" y="6272"/>
                  </a:lnTo>
                  <a:lnTo>
                    <a:pt x="2210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6" name="object 11">
              <a:extLst>
                <a:ext uri="{FF2B5EF4-FFF2-40B4-BE49-F238E27FC236}">
                  <a16:creationId xmlns:a16="http://schemas.microsoft.com/office/drawing/2014/main" id="{89F2B1CD-283D-8D49-9031-F583EEDDBD20}"/>
                </a:ext>
              </a:extLst>
            </p:cNvPr>
            <p:cNvSpPr/>
            <p:nvPr/>
          </p:nvSpPr>
          <p:spPr>
            <a:xfrm>
              <a:off x="15443530" y="2497295"/>
              <a:ext cx="28575" cy="149860"/>
            </a:xfrm>
            <a:custGeom>
              <a:avLst/>
              <a:gdLst/>
              <a:ahLst/>
              <a:cxnLst/>
              <a:rect l="l" t="t" r="r" b="b"/>
              <a:pathLst>
                <a:path w="28575" h="149860">
                  <a:moveTo>
                    <a:pt x="24302" y="48082"/>
                  </a:moveTo>
                  <a:lnTo>
                    <a:pt x="3800" y="48082"/>
                  </a:lnTo>
                  <a:lnTo>
                    <a:pt x="3800" y="149524"/>
                  </a:lnTo>
                  <a:lnTo>
                    <a:pt x="24302" y="149524"/>
                  </a:lnTo>
                  <a:lnTo>
                    <a:pt x="24302" y="48082"/>
                  </a:lnTo>
                  <a:close/>
                </a:path>
                <a:path w="28575" h="149860">
                  <a:moveTo>
                    <a:pt x="22135" y="0"/>
                  </a:moveTo>
                  <a:lnTo>
                    <a:pt x="6303" y="0"/>
                  </a:lnTo>
                  <a:lnTo>
                    <a:pt x="0" y="6272"/>
                  </a:lnTo>
                  <a:lnTo>
                    <a:pt x="0" y="22104"/>
                  </a:lnTo>
                  <a:lnTo>
                    <a:pt x="6303" y="28417"/>
                  </a:lnTo>
                  <a:lnTo>
                    <a:pt x="22135" y="28417"/>
                  </a:lnTo>
                  <a:lnTo>
                    <a:pt x="28417" y="22104"/>
                  </a:lnTo>
                  <a:lnTo>
                    <a:pt x="28417" y="6272"/>
                  </a:lnTo>
                  <a:lnTo>
                    <a:pt x="2213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7" name="object 12">
              <a:extLst>
                <a:ext uri="{FF2B5EF4-FFF2-40B4-BE49-F238E27FC236}">
                  <a16:creationId xmlns:a16="http://schemas.microsoft.com/office/drawing/2014/main" id="{A3AEED8B-2455-654D-9D56-225360A26FB8}"/>
                </a:ext>
              </a:extLst>
            </p:cNvPr>
            <p:cNvSpPr/>
            <p:nvPr/>
          </p:nvSpPr>
          <p:spPr>
            <a:xfrm>
              <a:off x="15144446" y="2542744"/>
              <a:ext cx="192678" cy="106719"/>
            </a:xfrm>
            <a:prstGeom prst="rect">
              <a:avLst/>
            </a:pr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8" name="object 13">
              <a:extLst>
                <a:ext uri="{FF2B5EF4-FFF2-40B4-BE49-F238E27FC236}">
                  <a16:creationId xmlns:a16="http://schemas.microsoft.com/office/drawing/2014/main" id="{0096DAB9-5EDF-D345-80D2-021DDBE35D6C}"/>
                </a:ext>
              </a:extLst>
            </p:cNvPr>
            <p:cNvSpPr/>
            <p:nvPr/>
          </p:nvSpPr>
          <p:spPr>
            <a:xfrm>
              <a:off x="15363480" y="2542744"/>
              <a:ext cx="59690" cy="104139"/>
            </a:xfrm>
            <a:custGeom>
              <a:avLst/>
              <a:gdLst/>
              <a:ahLst/>
              <a:cxnLst/>
              <a:rect l="l" t="t" r="r" b="b"/>
              <a:pathLst>
                <a:path w="59690" h="104139">
                  <a:moveTo>
                    <a:pt x="13999" y="2628"/>
                  </a:moveTo>
                  <a:lnTo>
                    <a:pt x="0" y="2628"/>
                  </a:lnTo>
                  <a:lnTo>
                    <a:pt x="0" y="104080"/>
                  </a:lnTo>
                  <a:lnTo>
                    <a:pt x="20878" y="104080"/>
                  </a:lnTo>
                  <a:lnTo>
                    <a:pt x="20878" y="24135"/>
                  </a:lnTo>
                  <a:lnTo>
                    <a:pt x="26794" y="21496"/>
                  </a:lnTo>
                  <a:lnTo>
                    <a:pt x="33674" y="19255"/>
                  </a:lnTo>
                  <a:lnTo>
                    <a:pt x="59443" y="19255"/>
                  </a:lnTo>
                  <a:lnTo>
                    <a:pt x="59443" y="8303"/>
                  </a:lnTo>
                  <a:lnTo>
                    <a:pt x="16020" y="8303"/>
                  </a:lnTo>
                  <a:lnTo>
                    <a:pt x="13999" y="2628"/>
                  </a:lnTo>
                  <a:close/>
                </a:path>
                <a:path w="59690" h="104139">
                  <a:moveTo>
                    <a:pt x="59443" y="19255"/>
                  </a:moveTo>
                  <a:lnTo>
                    <a:pt x="48501" y="19255"/>
                  </a:lnTo>
                  <a:lnTo>
                    <a:pt x="54364" y="20481"/>
                  </a:lnTo>
                  <a:lnTo>
                    <a:pt x="59443" y="22302"/>
                  </a:lnTo>
                  <a:lnTo>
                    <a:pt x="59443" y="19255"/>
                  </a:lnTo>
                  <a:close/>
                </a:path>
                <a:path w="59690" h="104139">
                  <a:moveTo>
                    <a:pt x="48909" y="0"/>
                  </a:moveTo>
                  <a:lnTo>
                    <a:pt x="44427" y="0"/>
                  </a:lnTo>
                  <a:lnTo>
                    <a:pt x="37022" y="527"/>
                  </a:lnTo>
                  <a:lnTo>
                    <a:pt x="29764" y="2098"/>
                  </a:lnTo>
                  <a:lnTo>
                    <a:pt x="22737" y="4695"/>
                  </a:lnTo>
                  <a:lnTo>
                    <a:pt x="16020" y="8303"/>
                  </a:lnTo>
                  <a:lnTo>
                    <a:pt x="59443" y="8303"/>
                  </a:lnTo>
                  <a:lnTo>
                    <a:pt x="59443" y="1612"/>
                  </a:lnTo>
                  <a:lnTo>
                    <a:pt x="54993" y="607"/>
                  </a:lnTo>
                  <a:lnTo>
                    <a:pt x="489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9" name="object 14">
              <a:extLst>
                <a:ext uri="{FF2B5EF4-FFF2-40B4-BE49-F238E27FC236}">
                  <a16:creationId xmlns:a16="http://schemas.microsoft.com/office/drawing/2014/main" id="{B3D66C4D-343E-C14C-BB14-19CD1BBF4D0B}"/>
                </a:ext>
              </a:extLst>
            </p:cNvPr>
            <p:cNvSpPr/>
            <p:nvPr/>
          </p:nvSpPr>
          <p:spPr>
            <a:xfrm>
              <a:off x="15501005" y="2542734"/>
              <a:ext cx="199600" cy="157440"/>
            </a:xfrm>
            <a:prstGeom prst="rect">
              <a:avLst/>
            </a:prstGeom>
            <a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0" name="object 15">
              <a:extLst>
                <a:ext uri="{FF2B5EF4-FFF2-40B4-BE49-F238E27FC236}">
                  <a16:creationId xmlns:a16="http://schemas.microsoft.com/office/drawing/2014/main" id="{DD1990A4-57AD-874B-8888-F8607CC666CD}"/>
                </a:ext>
              </a:extLst>
            </p:cNvPr>
            <p:cNvSpPr/>
            <p:nvPr/>
          </p:nvSpPr>
          <p:spPr>
            <a:xfrm>
              <a:off x="15844767" y="2542744"/>
              <a:ext cx="59690" cy="104139"/>
            </a:xfrm>
            <a:custGeom>
              <a:avLst/>
              <a:gdLst/>
              <a:ahLst/>
              <a:cxnLst/>
              <a:rect l="l" t="t" r="r" b="b"/>
              <a:pathLst>
                <a:path w="59690" h="104139">
                  <a:moveTo>
                    <a:pt x="14020" y="2628"/>
                  </a:moveTo>
                  <a:lnTo>
                    <a:pt x="0" y="2628"/>
                  </a:lnTo>
                  <a:lnTo>
                    <a:pt x="0" y="104080"/>
                  </a:lnTo>
                  <a:lnTo>
                    <a:pt x="20920" y="104080"/>
                  </a:lnTo>
                  <a:lnTo>
                    <a:pt x="20920" y="24135"/>
                  </a:lnTo>
                  <a:lnTo>
                    <a:pt x="26774" y="21496"/>
                  </a:lnTo>
                  <a:lnTo>
                    <a:pt x="33695" y="19255"/>
                  </a:lnTo>
                  <a:lnTo>
                    <a:pt x="59464" y="19255"/>
                  </a:lnTo>
                  <a:lnTo>
                    <a:pt x="59464" y="8303"/>
                  </a:lnTo>
                  <a:lnTo>
                    <a:pt x="16041" y="8303"/>
                  </a:lnTo>
                  <a:lnTo>
                    <a:pt x="14020" y="2628"/>
                  </a:lnTo>
                  <a:close/>
                </a:path>
                <a:path w="59690" h="104139">
                  <a:moveTo>
                    <a:pt x="59464" y="19255"/>
                  </a:moveTo>
                  <a:lnTo>
                    <a:pt x="48501" y="19255"/>
                  </a:lnTo>
                  <a:lnTo>
                    <a:pt x="54385" y="20481"/>
                  </a:lnTo>
                  <a:lnTo>
                    <a:pt x="59464" y="22302"/>
                  </a:lnTo>
                  <a:lnTo>
                    <a:pt x="59464" y="19255"/>
                  </a:lnTo>
                  <a:close/>
                </a:path>
                <a:path w="59690" h="104139">
                  <a:moveTo>
                    <a:pt x="48909" y="0"/>
                  </a:moveTo>
                  <a:lnTo>
                    <a:pt x="44427" y="0"/>
                  </a:lnTo>
                  <a:lnTo>
                    <a:pt x="37025" y="527"/>
                  </a:lnTo>
                  <a:lnTo>
                    <a:pt x="29775" y="2098"/>
                  </a:lnTo>
                  <a:lnTo>
                    <a:pt x="22754" y="4695"/>
                  </a:lnTo>
                  <a:lnTo>
                    <a:pt x="16041" y="8303"/>
                  </a:lnTo>
                  <a:lnTo>
                    <a:pt x="59464" y="8303"/>
                  </a:lnTo>
                  <a:lnTo>
                    <a:pt x="59464" y="1612"/>
                  </a:lnTo>
                  <a:lnTo>
                    <a:pt x="54993" y="607"/>
                  </a:lnTo>
                  <a:lnTo>
                    <a:pt x="489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1" name="object 16">
              <a:extLst>
                <a:ext uri="{FF2B5EF4-FFF2-40B4-BE49-F238E27FC236}">
                  <a16:creationId xmlns:a16="http://schemas.microsoft.com/office/drawing/2014/main" id="{36FFF5F6-7CF5-ED4E-AF83-0836CA4137A0}"/>
                </a:ext>
              </a:extLst>
            </p:cNvPr>
            <p:cNvSpPr/>
            <p:nvPr/>
          </p:nvSpPr>
          <p:spPr>
            <a:xfrm>
              <a:off x="15924490" y="2542744"/>
              <a:ext cx="85630" cy="106719"/>
            </a:xfrm>
            <a:prstGeom prst="rect">
              <a:avLst/>
            </a:pr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2" name="object 17">
              <a:extLst>
                <a:ext uri="{FF2B5EF4-FFF2-40B4-BE49-F238E27FC236}">
                  <a16:creationId xmlns:a16="http://schemas.microsoft.com/office/drawing/2014/main" id="{461B1837-6D25-F24D-9DCE-04A412752305}"/>
                </a:ext>
              </a:extLst>
            </p:cNvPr>
            <p:cNvSpPr/>
            <p:nvPr/>
          </p:nvSpPr>
          <p:spPr>
            <a:xfrm>
              <a:off x="16083729" y="2542734"/>
              <a:ext cx="98991" cy="157440"/>
            </a:xfrm>
            <a:prstGeom prst="rect">
              <a:avLst/>
            </a:prstGeom>
            <a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3" name="object 18">
              <a:extLst>
                <a:ext uri="{FF2B5EF4-FFF2-40B4-BE49-F238E27FC236}">
                  <a16:creationId xmlns:a16="http://schemas.microsoft.com/office/drawing/2014/main" id="{C3EA702A-F812-7F49-9722-8D11B7BF02BF}"/>
                </a:ext>
              </a:extLst>
            </p:cNvPr>
            <p:cNvSpPr/>
            <p:nvPr/>
          </p:nvSpPr>
          <p:spPr>
            <a:xfrm>
              <a:off x="16203392" y="2494664"/>
              <a:ext cx="81327" cy="152152"/>
            </a:xfrm>
            <a:prstGeom prst="rect">
              <a:avLst/>
            </a:prstGeom>
            <a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4" name="object 19">
              <a:extLst>
                <a:ext uri="{FF2B5EF4-FFF2-40B4-BE49-F238E27FC236}">
                  <a16:creationId xmlns:a16="http://schemas.microsoft.com/office/drawing/2014/main" id="{8345B4D4-DA77-1046-BF96-101762F72EE9}"/>
                </a:ext>
              </a:extLst>
            </p:cNvPr>
            <p:cNvSpPr/>
            <p:nvPr/>
          </p:nvSpPr>
          <p:spPr>
            <a:xfrm>
              <a:off x="16435528" y="2542744"/>
              <a:ext cx="162704" cy="106719"/>
            </a:xfrm>
            <a:prstGeom prst="rect">
              <a:avLst/>
            </a:prstGeom>
            <a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5" name="object 20">
              <a:extLst>
                <a:ext uri="{FF2B5EF4-FFF2-40B4-BE49-F238E27FC236}">
                  <a16:creationId xmlns:a16="http://schemas.microsoft.com/office/drawing/2014/main" id="{69F2EF62-B4D1-7440-BEC7-0136BC379191}"/>
                </a:ext>
              </a:extLst>
            </p:cNvPr>
            <p:cNvSpPr/>
            <p:nvPr/>
          </p:nvSpPr>
          <p:spPr>
            <a:xfrm>
              <a:off x="16733088" y="2542749"/>
              <a:ext cx="81128" cy="106708"/>
            </a:xfrm>
            <a:prstGeom prst="rect">
              <a:avLst/>
            </a:prstGeom>
            <a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6" name="object 21">
              <a:extLst>
                <a:ext uri="{FF2B5EF4-FFF2-40B4-BE49-F238E27FC236}">
                  <a16:creationId xmlns:a16="http://schemas.microsoft.com/office/drawing/2014/main" id="{909EF317-8C6B-B14D-A0A2-7DA6B3001CC9}"/>
                </a:ext>
              </a:extLst>
            </p:cNvPr>
            <p:cNvSpPr/>
            <p:nvPr/>
          </p:nvSpPr>
          <p:spPr>
            <a:xfrm>
              <a:off x="16842601" y="2494645"/>
              <a:ext cx="87442" cy="154801"/>
            </a:xfrm>
            <a:prstGeom prst="rect">
              <a:avLst/>
            </a:prstGeom>
            <a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7" name="object 22">
              <a:extLst>
                <a:ext uri="{FF2B5EF4-FFF2-40B4-BE49-F238E27FC236}">
                  <a16:creationId xmlns:a16="http://schemas.microsoft.com/office/drawing/2014/main" id="{75E8CB09-6577-8D47-8BD4-A59B3DDAFCE7}"/>
                </a:ext>
              </a:extLst>
            </p:cNvPr>
            <p:cNvSpPr/>
            <p:nvPr/>
          </p:nvSpPr>
          <p:spPr>
            <a:xfrm>
              <a:off x="17003059" y="2545373"/>
              <a:ext cx="94353" cy="152162"/>
            </a:xfrm>
            <a:prstGeom prst="rect">
              <a:avLst/>
            </a:prstGeom>
            <a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8" name="object 23">
              <a:extLst>
                <a:ext uri="{FF2B5EF4-FFF2-40B4-BE49-F238E27FC236}">
                  <a16:creationId xmlns:a16="http://schemas.microsoft.com/office/drawing/2014/main" id="{CC550E6A-918F-184F-B3B0-819C05F536E6}"/>
                </a:ext>
              </a:extLst>
            </p:cNvPr>
            <p:cNvSpPr/>
            <p:nvPr/>
          </p:nvSpPr>
          <p:spPr>
            <a:xfrm>
              <a:off x="15056164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49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29" name="object 24">
              <a:extLst>
                <a:ext uri="{FF2B5EF4-FFF2-40B4-BE49-F238E27FC236}">
                  <a16:creationId xmlns:a16="http://schemas.microsoft.com/office/drawing/2014/main" id="{92A529BD-BB5C-E448-8BE2-3CED29567242}"/>
                </a:ext>
              </a:extLst>
            </p:cNvPr>
            <p:cNvSpPr/>
            <p:nvPr/>
          </p:nvSpPr>
          <p:spPr>
            <a:xfrm>
              <a:off x="16637037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5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30" name="object 25">
              <a:extLst>
                <a:ext uri="{FF2B5EF4-FFF2-40B4-BE49-F238E27FC236}">
                  <a16:creationId xmlns:a16="http://schemas.microsoft.com/office/drawing/2014/main" id="{0CBDD186-1165-8543-83F2-3CDD2EA0C4DE}"/>
                </a:ext>
              </a:extLst>
            </p:cNvPr>
            <p:cNvSpPr/>
            <p:nvPr/>
          </p:nvSpPr>
          <p:spPr>
            <a:xfrm>
              <a:off x="16968897" y="2494667"/>
              <a:ext cx="0" cy="152400"/>
            </a:xfrm>
            <a:custGeom>
              <a:avLst/>
              <a:gdLst/>
              <a:ahLst/>
              <a:cxnLst/>
              <a:rect l="l" t="t" r="r" b="b"/>
              <a:pathLst>
                <a:path h="152400">
                  <a:moveTo>
                    <a:pt x="0" y="0"/>
                  </a:moveTo>
                  <a:lnTo>
                    <a:pt x="0" y="152152"/>
                  </a:lnTo>
                </a:path>
              </a:pathLst>
            </a:custGeom>
            <a:ln w="2050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31" name="object 26">
              <a:extLst>
                <a:ext uri="{FF2B5EF4-FFF2-40B4-BE49-F238E27FC236}">
                  <a16:creationId xmlns:a16="http://schemas.microsoft.com/office/drawing/2014/main" id="{16A8DDD6-2186-CE4D-8002-00A5E1C88E7A}"/>
                </a:ext>
              </a:extLst>
            </p:cNvPr>
            <p:cNvSpPr/>
            <p:nvPr/>
          </p:nvSpPr>
          <p:spPr>
            <a:xfrm>
              <a:off x="16312543" y="2512005"/>
              <a:ext cx="51435" cy="137795"/>
            </a:xfrm>
            <a:custGeom>
              <a:avLst/>
              <a:gdLst/>
              <a:ahLst/>
              <a:cxnLst/>
              <a:rect l="l" t="t" r="r" b="b"/>
              <a:pathLst>
                <a:path w="51434" h="137794">
                  <a:moveTo>
                    <a:pt x="20805" y="0"/>
                  </a:moveTo>
                  <a:lnTo>
                    <a:pt x="0" y="5758"/>
                  </a:lnTo>
                  <a:lnTo>
                    <a:pt x="0" y="108593"/>
                  </a:lnTo>
                  <a:lnTo>
                    <a:pt x="2937" y="121631"/>
                  </a:lnTo>
                  <a:lnTo>
                    <a:pt x="10667" y="130611"/>
                  </a:lnTo>
                  <a:lnTo>
                    <a:pt x="21565" y="135801"/>
                  </a:lnTo>
                  <a:lnTo>
                    <a:pt x="34009" y="137472"/>
                  </a:lnTo>
                  <a:lnTo>
                    <a:pt x="41852" y="137472"/>
                  </a:lnTo>
                  <a:lnTo>
                    <a:pt x="46982" y="136205"/>
                  </a:lnTo>
                  <a:lnTo>
                    <a:pt x="46982" y="117849"/>
                  </a:lnTo>
                  <a:lnTo>
                    <a:pt x="26585" y="117849"/>
                  </a:lnTo>
                  <a:lnTo>
                    <a:pt x="20805" y="115399"/>
                  </a:lnTo>
                  <a:lnTo>
                    <a:pt x="20805" y="49851"/>
                  </a:lnTo>
                  <a:lnTo>
                    <a:pt x="51317" y="49851"/>
                  </a:lnTo>
                  <a:lnTo>
                    <a:pt x="51317" y="31726"/>
                  </a:lnTo>
                  <a:lnTo>
                    <a:pt x="20805" y="31726"/>
                  </a:lnTo>
                  <a:lnTo>
                    <a:pt x="20805" y="0"/>
                  </a:lnTo>
                  <a:close/>
                </a:path>
                <a:path w="51434" h="137794">
                  <a:moveTo>
                    <a:pt x="46982" y="117054"/>
                  </a:moveTo>
                  <a:lnTo>
                    <a:pt x="44731" y="117462"/>
                  </a:lnTo>
                  <a:lnTo>
                    <a:pt x="39559" y="117849"/>
                  </a:lnTo>
                  <a:lnTo>
                    <a:pt x="46982" y="117849"/>
                  </a:lnTo>
                  <a:lnTo>
                    <a:pt x="46982" y="11705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32" name="object 27">
              <a:extLst>
                <a:ext uri="{FF2B5EF4-FFF2-40B4-BE49-F238E27FC236}">
                  <a16:creationId xmlns:a16="http://schemas.microsoft.com/office/drawing/2014/main" id="{BC635C2A-9778-BD49-8F33-237C75F007B7}"/>
                </a:ext>
              </a:extLst>
            </p:cNvPr>
            <p:cNvSpPr/>
            <p:nvPr/>
          </p:nvSpPr>
          <p:spPr>
            <a:xfrm>
              <a:off x="15771907" y="2491999"/>
              <a:ext cx="51435" cy="154940"/>
            </a:xfrm>
            <a:custGeom>
              <a:avLst/>
              <a:gdLst/>
              <a:ahLst/>
              <a:cxnLst/>
              <a:rect l="l" t="t" r="r" b="b"/>
              <a:pathLst>
                <a:path w="51434" h="154939">
                  <a:moveTo>
                    <a:pt x="41831" y="0"/>
                  </a:moveTo>
                  <a:lnTo>
                    <a:pt x="34030" y="0"/>
                  </a:lnTo>
                  <a:lnTo>
                    <a:pt x="21574" y="1670"/>
                  </a:lnTo>
                  <a:lnTo>
                    <a:pt x="10669" y="6861"/>
                  </a:lnTo>
                  <a:lnTo>
                    <a:pt x="2937" y="15840"/>
                  </a:lnTo>
                  <a:lnTo>
                    <a:pt x="0" y="28878"/>
                  </a:lnTo>
                  <a:lnTo>
                    <a:pt x="0" y="154812"/>
                  </a:lnTo>
                  <a:lnTo>
                    <a:pt x="20805" y="154812"/>
                  </a:lnTo>
                  <a:lnTo>
                    <a:pt x="20805" y="71505"/>
                  </a:lnTo>
                  <a:lnTo>
                    <a:pt x="51338" y="71505"/>
                  </a:lnTo>
                  <a:lnTo>
                    <a:pt x="51338" y="53380"/>
                  </a:lnTo>
                  <a:lnTo>
                    <a:pt x="20805" y="53380"/>
                  </a:lnTo>
                  <a:lnTo>
                    <a:pt x="20805" y="22072"/>
                  </a:lnTo>
                  <a:lnTo>
                    <a:pt x="26564" y="19601"/>
                  </a:lnTo>
                  <a:lnTo>
                    <a:pt x="46982" y="19601"/>
                  </a:lnTo>
                  <a:lnTo>
                    <a:pt x="46982" y="1246"/>
                  </a:lnTo>
                  <a:lnTo>
                    <a:pt x="41831" y="0"/>
                  </a:lnTo>
                  <a:close/>
                </a:path>
                <a:path w="51434" h="154939">
                  <a:moveTo>
                    <a:pt x="46982" y="19601"/>
                  </a:moveTo>
                  <a:lnTo>
                    <a:pt x="39569" y="19601"/>
                  </a:lnTo>
                  <a:lnTo>
                    <a:pt x="44721" y="20009"/>
                  </a:lnTo>
                  <a:lnTo>
                    <a:pt x="46982" y="20418"/>
                  </a:lnTo>
                  <a:lnTo>
                    <a:pt x="46982" y="1960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33" name="object 28">
              <a:extLst>
                <a:ext uri="{FF2B5EF4-FFF2-40B4-BE49-F238E27FC236}">
                  <a16:creationId xmlns:a16="http://schemas.microsoft.com/office/drawing/2014/main" id="{5B3A08FA-0503-5646-A0D3-AB66FC6D4308}"/>
                </a:ext>
              </a:extLst>
            </p:cNvPr>
            <p:cNvSpPr/>
            <p:nvPr/>
          </p:nvSpPr>
          <p:spPr>
            <a:xfrm>
              <a:off x="17093362" y="1336135"/>
              <a:ext cx="612140" cy="353695"/>
            </a:xfrm>
            <a:custGeom>
              <a:avLst/>
              <a:gdLst/>
              <a:ahLst/>
              <a:cxnLst/>
              <a:rect l="l" t="t" r="r" b="b"/>
              <a:pathLst>
                <a:path w="612140" h="353694">
                  <a:moveTo>
                    <a:pt x="611656" y="0"/>
                  </a:moveTo>
                  <a:lnTo>
                    <a:pt x="0" y="20"/>
                  </a:lnTo>
                  <a:lnTo>
                    <a:pt x="203910" y="353162"/>
                  </a:lnTo>
                  <a:lnTo>
                    <a:pt x="407767" y="353162"/>
                  </a:lnTo>
                  <a:lnTo>
                    <a:pt x="611656" y="0"/>
                  </a:lnTo>
                  <a:close/>
                </a:path>
              </a:pathLst>
            </a:custGeom>
            <a:solidFill>
              <a:srgbClr val="85BD3E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34" name="object 29">
              <a:extLst>
                <a:ext uri="{FF2B5EF4-FFF2-40B4-BE49-F238E27FC236}">
                  <a16:creationId xmlns:a16="http://schemas.microsoft.com/office/drawing/2014/main" id="{F65C85DF-78C3-F744-8EE8-11D6EE3F25C6}"/>
                </a:ext>
              </a:extLst>
            </p:cNvPr>
            <p:cNvSpPr/>
            <p:nvPr/>
          </p:nvSpPr>
          <p:spPr>
            <a:xfrm>
              <a:off x="17471866" y="1336132"/>
              <a:ext cx="1165860" cy="1009650"/>
            </a:xfrm>
            <a:custGeom>
              <a:avLst/>
              <a:gdLst/>
              <a:ahLst/>
              <a:cxnLst/>
              <a:rect l="l" t="t" r="r" b="b"/>
              <a:pathLst>
                <a:path w="1165859" h="1009650">
                  <a:moveTo>
                    <a:pt x="961363" y="0"/>
                  </a:moveTo>
                  <a:lnTo>
                    <a:pt x="378805" y="41"/>
                  </a:lnTo>
                  <a:lnTo>
                    <a:pt x="0" y="655665"/>
                  </a:lnTo>
                  <a:lnTo>
                    <a:pt x="204046" y="1009026"/>
                  </a:lnTo>
                  <a:lnTo>
                    <a:pt x="582683" y="353162"/>
                  </a:lnTo>
                  <a:lnTo>
                    <a:pt x="1165388" y="353162"/>
                  </a:lnTo>
                  <a:lnTo>
                    <a:pt x="961363" y="0"/>
                  </a:lnTo>
                  <a:close/>
                </a:path>
              </a:pathLst>
            </a:custGeom>
            <a:solidFill>
              <a:srgbClr val="E63023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35" name="object 30">
              <a:extLst>
                <a:ext uri="{FF2B5EF4-FFF2-40B4-BE49-F238E27FC236}">
                  <a16:creationId xmlns:a16="http://schemas.microsoft.com/office/drawing/2014/main" id="{77F7442E-53C4-9D45-A05C-C62843C79C6F}"/>
                </a:ext>
              </a:extLst>
            </p:cNvPr>
            <p:cNvSpPr/>
            <p:nvPr/>
          </p:nvSpPr>
          <p:spPr>
            <a:xfrm>
              <a:off x="17602493" y="781197"/>
              <a:ext cx="1790700" cy="201930"/>
            </a:xfrm>
            <a:custGeom>
              <a:avLst/>
              <a:gdLst/>
              <a:ahLst/>
              <a:cxnLst/>
              <a:rect l="l" t="t" r="r" b="b"/>
              <a:pathLst>
                <a:path w="1790700" h="201930">
                  <a:moveTo>
                    <a:pt x="328136" y="0"/>
                  </a:moveTo>
                  <a:lnTo>
                    <a:pt x="208370" y="0"/>
                  </a:lnTo>
                  <a:lnTo>
                    <a:pt x="208370" y="201784"/>
                  </a:lnTo>
                  <a:lnTo>
                    <a:pt x="258829" y="201784"/>
                  </a:lnTo>
                  <a:lnTo>
                    <a:pt x="258829" y="122991"/>
                  </a:lnTo>
                  <a:lnTo>
                    <a:pt x="364700" y="122991"/>
                  </a:lnTo>
                  <a:lnTo>
                    <a:pt x="359287" y="113609"/>
                  </a:lnTo>
                  <a:lnTo>
                    <a:pt x="369823" y="104711"/>
                  </a:lnTo>
                  <a:lnTo>
                    <a:pt x="377924" y="93525"/>
                  </a:lnTo>
                  <a:lnTo>
                    <a:pt x="383125" y="80510"/>
                  </a:lnTo>
                  <a:lnTo>
                    <a:pt x="383340" y="78824"/>
                  </a:lnTo>
                  <a:lnTo>
                    <a:pt x="258829" y="78824"/>
                  </a:lnTo>
                  <a:lnTo>
                    <a:pt x="258829" y="44145"/>
                  </a:lnTo>
                  <a:lnTo>
                    <a:pt x="382315" y="44145"/>
                  </a:lnTo>
                  <a:lnTo>
                    <a:pt x="380421" y="34716"/>
                  </a:lnTo>
                  <a:lnTo>
                    <a:pt x="368281" y="16647"/>
                  </a:lnTo>
                  <a:lnTo>
                    <a:pt x="350253" y="4466"/>
                  </a:lnTo>
                  <a:lnTo>
                    <a:pt x="328136" y="0"/>
                  </a:lnTo>
                  <a:close/>
                </a:path>
                <a:path w="1790700" h="201930">
                  <a:moveTo>
                    <a:pt x="364700" y="122991"/>
                  </a:moveTo>
                  <a:lnTo>
                    <a:pt x="313498" y="122991"/>
                  </a:lnTo>
                  <a:lnTo>
                    <a:pt x="358994" y="201784"/>
                  </a:lnTo>
                  <a:lnTo>
                    <a:pt x="410165" y="201784"/>
                  </a:lnTo>
                  <a:lnTo>
                    <a:pt x="364700" y="122991"/>
                  </a:lnTo>
                  <a:close/>
                </a:path>
                <a:path w="1790700" h="201930">
                  <a:moveTo>
                    <a:pt x="566139" y="0"/>
                  </a:moveTo>
                  <a:lnTo>
                    <a:pt x="512445" y="0"/>
                  </a:lnTo>
                  <a:lnTo>
                    <a:pt x="410165" y="201784"/>
                  </a:lnTo>
                  <a:lnTo>
                    <a:pt x="463849" y="201784"/>
                  </a:lnTo>
                  <a:lnTo>
                    <a:pt x="489398" y="151346"/>
                  </a:lnTo>
                  <a:lnTo>
                    <a:pt x="642861" y="151346"/>
                  </a:lnTo>
                  <a:lnTo>
                    <a:pt x="620472" y="107179"/>
                  </a:lnTo>
                  <a:lnTo>
                    <a:pt x="511785" y="107179"/>
                  </a:lnTo>
                  <a:lnTo>
                    <a:pt x="539282" y="52898"/>
                  </a:lnTo>
                  <a:lnTo>
                    <a:pt x="592955" y="52898"/>
                  </a:lnTo>
                  <a:lnTo>
                    <a:pt x="566139" y="0"/>
                  </a:lnTo>
                  <a:close/>
                </a:path>
                <a:path w="1790700" h="201930">
                  <a:moveTo>
                    <a:pt x="642861" y="151346"/>
                  </a:moveTo>
                  <a:lnTo>
                    <a:pt x="589186" y="151346"/>
                  </a:lnTo>
                  <a:lnTo>
                    <a:pt x="614756" y="201784"/>
                  </a:lnTo>
                  <a:lnTo>
                    <a:pt x="668429" y="201784"/>
                  </a:lnTo>
                  <a:lnTo>
                    <a:pt x="642861" y="151346"/>
                  </a:lnTo>
                  <a:close/>
                </a:path>
                <a:path w="1790700" h="201930">
                  <a:moveTo>
                    <a:pt x="592955" y="52898"/>
                  </a:moveTo>
                  <a:lnTo>
                    <a:pt x="539282" y="52898"/>
                  </a:lnTo>
                  <a:lnTo>
                    <a:pt x="566799" y="107179"/>
                  </a:lnTo>
                  <a:lnTo>
                    <a:pt x="620472" y="107179"/>
                  </a:lnTo>
                  <a:lnTo>
                    <a:pt x="592955" y="52898"/>
                  </a:lnTo>
                  <a:close/>
                </a:path>
                <a:path w="1790700" h="201930">
                  <a:moveTo>
                    <a:pt x="382315" y="44145"/>
                  </a:moveTo>
                  <a:lnTo>
                    <a:pt x="328817" y="44145"/>
                  </a:lnTo>
                  <a:lnTo>
                    <a:pt x="334492" y="49851"/>
                  </a:lnTo>
                  <a:lnTo>
                    <a:pt x="334618" y="73149"/>
                  </a:lnTo>
                  <a:lnTo>
                    <a:pt x="328911" y="78824"/>
                  </a:lnTo>
                  <a:lnTo>
                    <a:pt x="383340" y="78824"/>
                  </a:lnTo>
                  <a:lnTo>
                    <a:pt x="384962" y="66123"/>
                  </a:lnTo>
                  <a:lnTo>
                    <a:pt x="384867" y="56846"/>
                  </a:lnTo>
                  <a:lnTo>
                    <a:pt x="382315" y="44145"/>
                  </a:lnTo>
                  <a:close/>
                </a:path>
                <a:path w="1790700" h="201930">
                  <a:moveTo>
                    <a:pt x="1582820" y="0"/>
                  </a:moveTo>
                  <a:lnTo>
                    <a:pt x="1418888" y="0"/>
                  </a:lnTo>
                  <a:lnTo>
                    <a:pt x="1418888" y="201784"/>
                  </a:lnTo>
                  <a:lnTo>
                    <a:pt x="1582820" y="201784"/>
                  </a:lnTo>
                  <a:lnTo>
                    <a:pt x="1582820" y="157618"/>
                  </a:lnTo>
                  <a:lnTo>
                    <a:pt x="1469295" y="157618"/>
                  </a:lnTo>
                  <a:lnTo>
                    <a:pt x="1469295" y="122970"/>
                  </a:lnTo>
                  <a:lnTo>
                    <a:pt x="1576548" y="122970"/>
                  </a:lnTo>
                  <a:lnTo>
                    <a:pt x="1576548" y="78803"/>
                  </a:lnTo>
                  <a:lnTo>
                    <a:pt x="1469295" y="78803"/>
                  </a:lnTo>
                  <a:lnTo>
                    <a:pt x="1469295" y="44134"/>
                  </a:lnTo>
                  <a:lnTo>
                    <a:pt x="1582820" y="44134"/>
                  </a:lnTo>
                  <a:lnTo>
                    <a:pt x="1582820" y="0"/>
                  </a:lnTo>
                  <a:close/>
                </a:path>
                <a:path w="1790700" h="201930">
                  <a:moveTo>
                    <a:pt x="955436" y="150529"/>
                  </a:moveTo>
                  <a:lnTo>
                    <a:pt x="933301" y="188800"/>
                  </a:lnTo>
                  <a:lnTo>
                    <a:pt x="946596" y="194124"/>
                  </a:lnTo>
                  <a:lnTo>
                    <a:pt x="960510" y="198071"/>
                  </a:lnTo>
                  <a:lnTo>
                    <a:pt x="974981" y="200531"/>
                  </a:lnTo>
                  <a:lnTo>
                    <a:pt x="989948" y="201397"/>
                  </a:lnTo>
                  <a:lnTo>
                    <a:pt x="1065496" y="201376"/>
                  </a:lnTo>
                  <a:lnTo>
                    <a:pt x="1087569" y="196917"/>
                  </a:lnTo>
                  <a:lnTo>
                    <a:pt x="1105565" y="184757"/>
                  </a:lnTo>
                  <a:lnTo>
                    <a:pt x="1117683" y="166721"/>
                  </a:lnTo>
                  <a:lnTo>
                    <a:pt x="1119570" y="157335"/>
                  </a:lnTo>
                  <a:lnTo>
                    <a:pt x="989948" y="157335"/>
                  </a:lnTo>
                  <a:lnTo>
                    <a:pt x="980897" y="156875"/>
                  </a:lnTo>
                  <a:lnTo>
                    <a:pt x="972092" y="155558"/>
                  </a:lnTo>
                  <a:lnTo>
                    <a:pt x="963587" y="153427"/>
                  </a:lnTo>
                  <a:lnTo>
                    <a:pt x="955436" y="150529"/>
                  </a:lnTo>
                  <a:close/>
                </a:path>
                <a:path w="1790700" h="201930">
                  <a:moveTo>
                    <a:pt x="1065464" y="0"/>
                  </a:moveTo>
                  <a:lnTo>
                    <a:pt x="989948" y="0"/>
                  </a:lnTo>
                  <a:lnTo>
                    <a:pt x="967867" y="4455"/>
                  </a:lnTo>
                  <a:lnTo>
                    <a:pt x="949865" y="16610"/>
                  </a:lnTo>
                  <a:lnTo>
                    <a:pt x="937742" y="34645"/>
                  </a:lnTo>
                  <a:lnTo>
                    <a:pt x="933301" y="56741"/>
                  </a:lnTo>
                  <a:lnTo>
                    <a:pt x="933301" y="65966"/>
                  </a:lnTo>
                  <a:lnTo>
                    <a:pt x="937742" y="88065"/>
                  </a:lnTo>
                  <a:lnTo>
                    <a:pt x="949865" y="106108"/>
                  </a:lnTo>
                  <a:lnTo>
                    <a:pt x="967867" y="118270"/>
                  </a:lnTo>
                  <a:lnTo>
                    <a:pt x="989948" y="122729"/>
                  </a:lnTo>
                  <a:lnTo>
                    <a:pt x="1066176" y="122729"/>
                  </a:lnTo>
                  <a:lnTo>
                    <a:pt x="1071852" y="128393"/>
                  </a:lnTo>
                  <a:lnTo>
                    <a:pt x="1071852" y="151628"/>
                  </a:lnTo>
                  <a:lnTo>
                    <a:pt x="1066176" y="157314"/>
                  </a:lnTo>
                  <a:lnTo>
                    <a:pt x="989948" y="157335"/>
                  </a:lnTo>
                  <a:lnTo>
                    <a:pt x="1119570" y="157335"/>
                  </a:lnTo>
                  <a:lnTo>
                    <a:pt x="1122122" y="144634"/>
                  </a:lnTo>
                  <a:lnTo>
                    <a:pt x="1122122" y="135388"/>
                  </a:lnTo>
                  <a:lnTo>
                    <a:pt x="1117683" y="113313"/>
                  </a:lnTo>
                  <a:lnTo>
                    <a:pt x="1105565" y="95283"/>
                  </a:lnTo>
                  <a:lnTo>
                    <a:pt x="1087569" y="83126"/>
                  </a:lnTo>
                  <a:lnTo>
                    <a:pt x="1065496" y="78667"/>
                  </a:lnTo>
                  <a:lnTo>
                    <a:pt x="989247" y="78667"/>
                  </a:lnTo>
                  <a:lnTo>
                    <a:pt x="983551" y="72992"/>
                  </a:lnTo>
                  <a:lnTo>
                    <a:pt x="983551" y="49736"/>
                  </a:lnTo>
                  <a:lnTo>
                    <a:pt x="989247" y="44061"/>
                  </a:lnTo>
                  <a:lnTo>
                    <a:pt x="1096919" y="44061"/>
                  </a:lnTo>
                  <a:lnTo>
                    <a:pt x="1096919" y="3120"/>
                  </a:lnTo>
                  <a:lnTo>
                    <a:pt x="1089567" y="1744"/>
                  </a:lnTo>
                  <a:lnTo>
                    <a:pt x="1081738" y="770"/>
                  </a:lnTo>
                  <a:lnTo>
                    <a:pt x="1073635" y="191"/>
                  </a:lnTo>
                  <a:lnTo>
                    <a:pt x="1065464" y="0"/>
                  </a:lnTo>
                  <a:close/>
                </a:path>
                <a:path w="1790700" h="201930">
                  <a:moveTo>
                    <a:pt x="1096919" y="44061"/>
                  </a:moveTo>
                  <a:lnTo>
                    <a:pt x="1065464" y="44061"/>
                  </a:lnTo>
                  <a:lnTo>
                    <a:pt x="1072436" y="44315"/>
                  </a:lnTo>
                  <a:lnTo>
                    <a:pt x="1081957" y="44998"/>
                  </a:lnTo>
                  <a:lnTo>
                    <a:pt x="1091096" y="45996"/>
                  </a:lnTo>
                  <a:lnTo>
                    <a:pt x="1096919" y="47192"/>
                  </a:lnTo>
                  <a:lnTo>
                    <a:pt x="1096919" y="44061"/>
                  </a:lnTo>
                  <a:close/>
                </a:path>
                <a:path w="1790700" h="201930">
                  <a:moveTo>
                    <a:pt x="1639614" y="0"/>
                  </a:moveTo>
                  <a:lnTo>
                    <a:pt x="1639614" y="201784"/>
                  </a:lnTo>
                  <a:lnTo>
                    <a:pt x="1690074" y="201784"/>
                  </a:lnTo>
                  <a:lnTo>
                    <a:pt x="1690074" y="44145"/>
                  </a:lnTo>
                  <a:lnTo>
                    <a:pt x="1765150" y="44145"/>
                  </a:lnTo>
                  <a:lnTo>
                    <a:pt x="1790667" y="31"/>
                  </a:lnTo>
                  <a:lnTo>
                    <a:pt x="1639614" y="0"/>
                  </a:lnTo>
                  <a:close/>
                </a:path>
                <a:path w="1790700" h="201930">
                  <a:moveTo>
                    <a:pt x="1217093" y="0"/>
                  </a:moveTo>
                  <a:lnTo>
                    <a:pt x="1160341" y="0"/>
                  </a:lnTo>
                  <a:lnTo>
                    <a:pt x="1160341" y="201784"/>
                  </a:lnTo>
                  <a:lnTo>
                    <a:pt x="1210758" y="201784"/>
                  </a:lnTo>
                  <a:lnTo>
                    <a:pt x="1210758" y="69589"/>
                  </a:lnTo>
                  <a:lnTo>
                    <a:pt x="1266900" y="69589"/>
                  </a:lnTo>
                  <a:lnTo>
                    <a:pt x="1217093" y="0"/>
                  </a:lnTo>
                  <a:close/>
                </a:path>
                <a:path w="1790700" h="201930">
                  <a:moveTo>
                    <a:pt x="1266900" y="69589"/>
                  </a:moveTo>
                  <a:lnTo>
                    <a:pt x="1210758" y="69589"/>
                  </a:lnTo>
                  <a:lnTo>
                    <a:pt x="1305363" y="201784"/>
                  </a:lnTo>
                  <a:lnTo>
                    <a:pt x="1362136" y="201784"/>
                  </a:lnTo>
                  <a:lnTo>
                    <a:pt x="1362136" y="132194"/>
                  </a:lnTo>
                  <a:lnTo>
                    <a:pt x="1311708" y="132194"/>
                  </a:lnTo>
                  <a:lnTo>
                    <a:pt x="1266900" y="69589"/>
                  </a:lnTo>
                  <a:close/>
                </a:path>
                <a:path w="1790700" h="201930">
                  <a:moveTo>
                    <a:pt x="1362136" y="188"/>
                  </a:moveTo>
                  <a:lnTo>
                    <a:pt x="1311708" y="188"/>
                  </a:lnTo>
                  <a:lnTo>
                    <a:pt x="1311708" y="132194"/>
                  </a:lnTo>
                  <a:lnTo>
                    <a:pt x="1362136" y="132194"/>
                  </a:lnTo>
                  <a:lnTo>
                    <a:pt x="1362136" y="188"/>
                  </a:lnTo>
                  <a:close/>
                </a:path>
                <a:path w="1790700" h="201930">
                  <a:moveTo>
                    <a:pt x="151607" y="44145"/>
                  </a:moveTo>
                  <a:lnTo>
                    <a:pt x="101138" y="44145"/>
                  </a:lnTo>
                  <a:lnTo>
                    <a:pt x="101138" y="201784"/>
                  </a:lnTo>
                  <a:lnTo>
                    <a:pt x="151607" y="201784"/>
                  </a:lnTo>
                  <a:lnTo>
                    <a:pt x="151607" y="44145"/>
                  </a:lnTo>
                  <a:close/>
                </a:path>
                <a:path w="1790700" h="201930">
                  <a:moveTo>
                    <a:pt x="151607" y="0"/>
                  </a:moveTo>
                  <a:lnTo>
                    <a:pt x="0" y="31"/>
                  </a:lnTo>
                  <a:lnTo>
                    <a:pt x="25496" y="44166"/>
                  </a:lnTo>
                  <a:lnTo>
                    <a:pt x="151607" y="44145"/>
                  </a:lnTo>
                  <a:lnTo>
                    <a:pt x="151607" y="0"/>
                  </a:lnTo>
                  <a:close/>
                </a:path>
                <a:path w="1790700" h="201930">
                  <a:moveTo>
                    <a:pt x="744092" y="0"/>
                  </a:moveTo>
                  <a:lnTo>
                    <a:pt x="687350" y="0"/>
                  </a:lnTo>
                  <a:lnTo>
                    <a:pt x="687350" y="201784"/>
                  </a:lnTo>
                  <a:lnTo>
                    <a:pt x="737768" y="201784"/>
                  </a:lnTo>
                  <a:lnTo>
                    <a:pt x="737768" y="69589"/>
                  </a:lnTo>
                  <a:lnTo>
                    <a:pt x="793893" y="69589"/>
                  </a:lnTo>
                  <a:lnTo>
                    <a:pt x="744092" y="0"/>
                  </a:lnTo>
                  <a:close/>
                </a:path>
                <a:path w="1790700" h="201930">
                  <a:moveTo>
                    <a:pt x="793893" y="69589"/>
                  </a:moveTo>
                  <a:lnTo>
                    <a:pt x="737768" y="69589"/>
                  </a:lnTo>
                  <a:lnTo>
                    <a:pt x="832372" y="201784"/>
                  </a:lnTo>
                  <a:lnTo>
                    <a:pt x="889145" y="201784"/>
                  </a:lnTo>
                  <a:lnTo>
                    <a:pt x="889145" y="132194"/>
                  </a:lnTo>
                  <a:lnTo>
                    <a:pt x="838696" y="132194"/>
                  </a:lnTo>
                  <a:lnTo>
                    <a:pt x="793893" y="69589"/>
                  </a:lnTo>
                  <a:close/>
                </a:path>
                <a:path w="1790700" h="201930">
                  <a:moveTo>
                    <a:pt x="889145" y="188"/>
                  </a:moveTo>
                  <a:lnTo>
                    <a:pt x="838696" y="188"/>
                  </a:lnTo>
                  <a:lnTo>
                    <a:pt x="838696" y="132194"/>
                  </a:lnTo>
                  <a:lnTo>
                    <a:pt x="889145" y="132194"/>
                  </a:lnTo>
                  <a:lnTo>
                    <a:pt x="889145" y="188"/>
                  </a:lnTo>
                  <a:close/>
                </a:path>
              </a:pathLst>
            </a:custGeom>
            <a:solidFill>
              <a:srgbClr val="E63023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</p:grp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456D8E82-4B17-8A44-A98F-D28F51A811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84575" y="4113726"/>
            <a:ext cx="7012180" cy="110331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320" b="1" i="0">
                <a:solidFill>
                  <a:schemeClr val="bg1"/>
                </a:solidFill>
                <a:latin typeface="Tahoma Regular"/>
              </a:defRPr>
            </a:lvl1pPr>
          </a:lstStyle>
          <a:p>
            <a:pPr lvl="0"/>
            <a:r>
              <a:rPr lang="en-US" dirty="0"/>
              <a:t>DIVIDER TITLE GOES HERE</a:t>
            </a:r>
          </a:p>
          <a:p>
            <a:pPr lvl="0"/>
            <a:r>
              <a:rPr lang="en-US" dirty="0"/>
              <a:t>ON TWO LINES IF NECESSARY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273F8075-A63D-2243-8DDD-A3E491BD42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84371" y="5217038"/>
            <a:ext cx="6248013" cy="15182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="0" i="0">
                <a:solidFill>
                  <a:schemeClr val="bg1"/>
                </a:solidFill>
                <a:latin typeface="Tahoma Regular"/>
              </a:defRPr>
            </a:lvl1pPr>
            <a:lvl2pPr marL="446410" indent="0">
              <a:buNone/>
              <a:defRPr>
                <a:solidFill>
                  <a:schemeClr val="bg1"/>
                </a:solidFill>
              </a:defRPr>
            </a:lvl2pPr>
            <a:lvl3pPr marL="892820" indent="0">
              <a:buNone/>
              <a:defRPr>
                <a:solidFill>
                  <a:schemeClr val="bg1"/>
                </a:solidFill>
              </a:defRPr>
            </a:lvl3pPr>
            <a:lvl4pPr marL="1339230" indent="0">
              <a:buNone/>
              <a:defRPr>
                <a:solidFill>
                  <a:schemeClr val="bg1"/>
                </a:solidFill>
              </a:defRPr>
            </a:lvl4pPr>
            <a:lvl5pPr marL="178564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o:</a:t>
            </a:r>
          </a:p>
          <a:p>
            <a:pPr lvl="0"/>
            <a:r>
              <a:rPr lang="en-US" dirty="0"/>
              <a:t>Company name goes here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2020/00/00</a:t>
            </a:r>
          </a:p>
        </p:txBody>
      </p:sp>
    </p:spTree>
    <p:extLst>
      <p:ext uri="{BB962C8B-B14F-4D97-AF65-F5344CB8AC3E}">
        <p14:creationId xmlns:p14="http://schemas.microsoft.com/office/powerpoint/2010/main" val="39622446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k object 16">
            <a:extLst>
              <a:ext uri="{FF2B5EF4-FFF2-40B4-BE49-F238E27FC236}">
                <a16:creationId xmlns:a16="http://schemas.microsoft.com/office/drawing/2014/main" id="{DF8E8968-CF5B-604F-927F-923A91A931A9}"/>
              </a:ext>
            </a:extLst>
          </p:cNvPr>
          <p:cNvSpPr/>
          <p:nvPr userDrawn="1"/>
        </p:nvSpPr>
        <p:spPr>
          <a:xfrm>
            <a:off x="1" y="1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20104099" y="0"/>
                </a:lnTo>
                <a:lnTo>
                  <a:pt x="20104099" y="11308556"/>
                </a:lnTo>
                <a:close/>
              </a:path>
            </a:pathLst>
          </a:custGeom>
          <a:ln w="41883">
            <a:solidFill>
              <a:srgbClr val="E6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084F310-B4AD-5D44-BEF7-4C91BCBB7B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42"/>
            <a:ext cx="12192000" cy="6857519"/>
          </a:xfrm>
          <a:prstGeom prst="rect">
            <a:avLst/>
          </a:prstGeom>
        </p:spPr>
      </p:pic>
      <p:sp>
        <p:nvSpPr>
          <p:cNvPr id="10" name="object 11">
            <a:extLst>
              <a:ext uri="{FF2B5EF4-FFF2-40B4-BE49-F238E27FC236}">
                <a16:creationId xmlns:a16="http://schemas.microsoft.com/office/drawing/2014/main" id="{15CDD9D3-0E64-C244-A7E0-FEB1389F23EE}"/>
              </a:ext>
            </a:extLst>
          </p:cNvPr>
          <p:cNvSpPr/>
          <p:nvPr userDrawn="1"/>
        </p:nvSpPr>
        <p:spPr>
          <a:xfrm>
            <a:off x="635835" y="3931064"/>
            <a:ext cx="848742" cy="1468636"/>
          </a:xfrm>
          <a:custGeom>
            <a:avLst/>
            <a:gdLst/>
            <a:ahLst/>
            <a:cxnLst/>
            <a:rect l="l" t="t" r="r" b="b"/>
            <a:pathLst>
              <a:path w="1399539" h="2421890">
                <a:moveTo>
                  <a:pt x="0" y="2421811"/>
                </a:moveTo>
                <a:lnTo>
                  <a:pt x="1399287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4A98F71-6812-6048-AE98-5BC31C8E35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84576" y="4113726"/>
            <a:ext cx="7096346" cy="1103312"/>
          </a:xfrm>
          <a:prstGeom prst="rect">
            <a:avLst/>
          </a:prstGeom>
        </p:spPr>
        <p:txBody>
          <a:bodyPr/>
          <a:lstStyle>
            <a:lvl1pPr marL="12700" marR="5080" indent="0">
              <a:lnSpc>
                <a:spcPct val="105500"/>
              </a:lnSpc>
              <a:spcBef>
                <a:spcPts val="95"/>
              </a:spcBef>
              <a:buNone/>
              <a:defRPr sz="3320" b="1" i="0">
                <a:solidFill>
                  <a:schemeClr val="bg1"/>
                </a:solidFill>
                <a:latin typeface="Tahoma Regular"/>
              </a:defRPr>
            </a:lvl1pPr>
          </a:lstStyle>
          <a:p>
            <a:pPr marL="12700" marR="5080">
              <a:lnSpc>
                <a:spcPct val="105500"/>
              </a:lnSpc>
              <a:spcBef>
                <a:spcPts val="95"/>
              </a:spcBef>
            </a:pPr>
            <a:r>
              <a:rPr lang="en-ZA" sz="3600" b="1" kern="0" spc="10" dirty="0"/>
              <a:t>COVER TITLE </a:t>
            </a:r>
            <a:r>
              <a:rPr lang="en-ZA" sz="3600" b="1" kern="0" spc="15" dirty="0"/>
              <a:t>GOES </a:t>
            </a:r>
            <a:r>
              <a:rPr lang="en-ZA" sz="3600" b="1" kern="0" spc="10" dirty="0"/>
              <a:t>HERE </a:t>
            </a:r>
            <a:r>
              <a:rPr lang="en-ZA" sz="3600" b="1" kern="0" spc="15" dirty="0"/>
              <a:t>ON TWO </a:t>
            </a:r>
            <a:r>
              <a:rPr lang="en-ZA" sz="3600" b="1" kern="0" spc="10" dirty="0"/>
              <a:t>LINES </a:t>
            </a:r>
            <a:r>
              <a:rPr lang="en-ZA" sz="3600" b="1" kern="0" spc="5" dirty="0"/>
              <a:t>IF</a:t>
            </a:r>
            <a:r>
              <a:rPr lang="en-ZA" sz="3600" b="1" kern="0" spc="-260" dirty="0"/>
              <a:t> </a:t>
            </a:r>
            <a:r>
              <a:rPr lang="en-ZA" sz="3600" b="1" kern="0" spc="-25" dirty="0"/>
              <a:t>NECESSARY</a:t>
            </a:r>
            <a:endParaRPr lang="en-ZA" sz="3600" b="1" kern="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160532D-FAF0-F947-B3C7-16329EF4DE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84371" y="5217038"/>
            <a:ext cx="6248013" cy="151829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 b="0" i="0">
                <a:solidFill>
                  <a:schemeClr val="bg1"/>
                </a:solidFill>
                <a:latin typeface="Tahoma Regular"/>
              </a:defRPr>
            </a:lvl1pPr>
            <a:lvl2pPr marL="446410" indent="0">
              <a:buNone/>
              <a:defRPr>
                <a:solidFill>
                  <a:schemeClr val="bg1"/>
                </a:solidFill>
              </a:defRPr>
            </a:lvl2pPr>
            <a:lvl3pPr marL="892820" indent="0">
              <a:buNone/>
              <a:defRPr>
                <a:solidFill>
                  <a:schemeClr val="bg1"/>
                </a:solidFill>
              </a:defRPr>
            </a:lvl3pPr>
            <a:lvl4pPr marL="1339230" indent="0">
              <a:buNone/>
              <a:defRPr>
                <a:solidFill>
                  <a:schemeClr val="bg1"/>
                </a:solidFill>
              </a:defRPr>
            </a:lvl4pPr>
            <a:lvl5pPr marL="178564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o:</a:t>
            </a:r>
          </a:p>
          <a:p>
            <a:pPr lvl="0"/>
            <a:r>
              <a:rPr lang="en-US" dirty="0"/>
              <a:t>Company name goes here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2020/00/00</a:t>
            </a:r>
          </a:p>
        </p:txBody>
      </p:sp>
    </p:spTree>
    <p:extLst>
      <p:ext uri="{BB962C8B-B14F-4D97-AF65-F5344CB8AC3E}">
        <p14:creationId xmlns:p14="http://schemas.microsoft.com/office/powerpoint/2010/main" val="10363518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20.emf"/><Relationship Id="rId4" Type="http://schemas.openxmlformats.org/officeDocument/2006/relationships/slideLayout" Target="../slideLayouts/slideLayout11.xml"/><Relationship Id="rId9" Type="http://schemas.openxmlformats.org/officeDocument/2006/relationships/oleObject" Target="../embeddings/oleObject6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8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25127358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1" imgH="420" progId="TCLayout.ActiveDocument.1">
                  <p:embed/>
                </p:oleObj>
              </mc:Choice>
              <mc:Fallback>
                <p:oleObj name="think-cell Slide" r:id="rId10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8755" y="276058"/>
            <a:ext cx="10457775" cy="7201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MASTER SLID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8329" y="1200483"/>
            <a:ext cx="11055343" cy="5299629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7" name="Rectangle 6"/>
          <p:cNvSpPr/>
          <p:nvPr userDrawn="1"/>
        </p:nvSpPr>
        <p:spPr>
          <a:xfrm>
            <a:off x="443786" y="62927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 dirty="0">
              <a:solidFill>
                <a:schemeClr val="tx1">
                  <a:lumMod val="50000"/>
                  <a:lumOff val="50000"/>
                </a:schemeClr>
              </a:solidFill>
              <a:latin typeface="Tahoma"/>
            </a:endParaRPr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C94C95BE-8722-4D8D-93E0-75343B78F809}"/>
              </a:ext>
            </a:extLst>
          </p:cNvPr>
          <p:cNvSpPr/>
          <p:nvPr userDrawn="1"/>
        </p:nvSpPr>
        <p:spPr>
          <a:xfrm>
            <a:off x="568328" y="1121575"/>
            <a:ext cx="11055343" cy="45719"/>
          </a:xfrm>
          <a:custGeom>
            <a:avLst/>
            <a:gdLst/>
            <a:ahLst/>
            <a:cxnLst/>
            <a:rect l="l" t="t" r="r" b="b"/>
            <a:pathLst>
              <a:path w="18230215">
                <a:moveTo>
                  <a:pt x="0" y="0"/>
                </a:moveTo>
                <a:lnTo>
                  <a:pt x="18229780" y="0"/>
                </a:lnTo>
              </a:path>
            </a:pathLst>
          </a:custGeom>
          <a:ln w="20941">
            <a:solidFill>
              <a:srgbClr val="8B8E91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8828F517-37FB-4E03-B217-C275D9590891}"/>
              </a:ext>
            </a:extLst>
          </p:cNvPr>
          <p:cNvSpPr/>
          <p:nvPr userDrawn="1"/>
        </p:nvSpPr>
        <p:spPr>
          <a:xfrm>
            <a:off x="620851" y="6136760"/>
            <a:ext cx="166575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0567A0-C0A7-4B1B-AE7B-212F10FDF1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197C7E8-87A8-521B-6CBE-2669122C7CF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024438" y="6705600"/>
            <a:ext cx="21717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ZA" sz="10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NSNET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274125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02" r:id="rId2"/>
    <p:sldLayoutId id="2147483701" r:id="rId3"/>
    <p:sldLayoutId id="2147483673" r:id="rId4"/>
    <p:sldLayoutId id="2147483695" r:id="rId5"/>
    <p:sldLayoutId id="2147483705" r:id="rId6"/>
    <p:sldLayoutId id="2147483696" r:id="rId7"/>
  </p:sldLayoutIdLst>
  <p:hf hdr="0" ftr="0" dt="0"/>
  <p:txStyles>
    <p:titleStyle>
      <a:lvl1pPr algn="l" defTabSz="779173" rtl="0" eaLnBrk="1" latinLnBrk="0" hangingPunct="1">
        <a:spcBef>
          <a:spcPct val="0"/>
        </a:spcBef>
        <a:buNone/>
        <a:defRPr sz="2800" b="1" kern="1200" cap="none" spc="0" baseline="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779173" rtl="0" eaLnBrk="1" latinLnBrk="0" hangingPunct="1">
        <a:lnSpc>
          <a:spcPct val="110000"/>
        </a:lnSpc>
        <a:spcBef>
          <a:spcPts val="1023"/>
        </a:spcBef>
        <a:spcAft>
          <a:spcPts val="341"/>
        </a:spcAft>
        <a:buFont typeface="Arial" pitchFamily="34" charset="0"/>
        <a:buNone/>
        <a:defRPr sz="20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228612" indent="-142037" algn="l" defTabSz="779173" rtl="0" eaLnBrk="1" latinLnBrk="0" hangingPunct="1">
        <a:lnSpc>
          <a:spcPct val="110000"/>
        </a:lnSpc>
        <a:spcBef>
          <a:spcPts val="171"/>
        </a:spcBef>
        <a:spcAft>
          <a:spcPts val="171"/>
        </a:spcAft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531623" indent="-160976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›"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764293" indent="-155565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–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1078126" indent="-156917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»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142725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312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98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84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6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73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9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45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32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18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104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91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0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  <p15:guide id="5" orient="horz" pos="2432" userDrawn="1">
          <p15:clr>
            <a:srgbClr val="F26B43"/>
          </p15:clr>
        </p15:guide>
        <p15:guide id="7" orient="horz" pos="7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265212-BF82-49BD-8685-982AE7961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76836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265212-BF82-49BD-8685-982AE7961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40E2D359-BEA0-F442-A837-63BC5340A44D}"/>
              </a:ext>
            </a:extLst>
          </p:cNvPr>
          <p:cNvGrpSpPr/>
          <p:nvPr userDrawn="1"/>
        </p:nvGrpSpPr>
        <p:grpSpPr>
          <a:xfrm>
            <a:off x="10769718" y="529563"/>
            <a:ext cx="997046" cy="677975"/>
            <a:chOff x="17758816" y="873287"/>
            <a:chExt cx="1644088" cy="1118031"/>
          </a:xfrm>
        </p:grpSpPr>
        <p:sp>
          <p:nvSpPr>
            <p:cNvPr id="8" name="object 11">
              <a:extLst>
                <a:ext uri="{FF2B5EF4-FFF2-40B4-BE49-F238E27FC236}">
                  <a16:creationId xmlns:a16="http://schemas.microsoft.com/office/drawing/2014/main" id="{716F8D6E-3447-A047-9302-308A2454F055}"/>
                </a:ext>
              </a:extLst>
            </p:cNvPr>
            <p:cNvSpPr/>
            <p:nvPr/>
          </p:nvSpPr>
          <p:spPr>
            <a:xfrm>
              <a:off x="17758816" y="1269964"/>
              <a:ext cx="437515" cy="252729"/>
            </a:xfrm>
            <a:custGeom>
              <a:avLst/>
              <a:gdLst/>
              <a:ahLst/>
              <a:cxnLst/>
              <a:rect l="l" t="t" r="r" b="b"/>
              <a:pathLst>
                <a:path w="437515" h="252730">
                  <a:moveTo>
                    <a:pt x="437211" y="0"/>
                  </a:moveTo>
                  <a:lnTo>
                    <a:pt x="0" y="20"/>
                  </a:lnTo>
                  <a:lnTo>
                    <a:pt x="145754" y="252442"/>
                  </a:lnTo>
                  <a:lnTo>
                    <a:pt x="291478" y="252442"/>
                  </a:lnTo>
                  <a:lnTo>
                    <a:pt x="437211" y="0"/>
                  </a:lnTo>
                  <a:close/>
                </a:path>
              </a:pathLst>
            </a:custGeom>
            <a:solidFill>
              <a:srgbClr val="89C43E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9" name="object 12">
              <a:extLst>
                <a:ext uri="{FF2B5EF4-FFF2-40B4-BE49-F238E27FC236}">
                  <a16:creationId xmlns:a16="http://schemas.microsoft.com/office/drawing/2014/main" id="{FAF4FE9E-3237-9A4D-9764-7BB720FCD4A7}"/>
                </a:ext>
              </a:extLst>
            </p:cNvPr>
            <p:cNvSpPr/>
            <p:nvPr/>
          </p:nvSpPr>
          <p:spPr>
            <a:xfrm>
              <a:off x="18029369" y="1269958"/>
              <a:ext cx="833119" cy="721360"/>
            </a:xfrm>
            <a:custGeom>
              <a:avLst/>
              <a:gdLst/>
              <a:ahLst/>
              <a:cxnLst/>
              <a:rect l="l" t="t" r="r" b="b"/>
              <a:pathLst>
                <a:path w="833119" h="721360">
                  <a:moveTo>
                    <a:pt x="687193" y="0"/>
                  </a:moveTo>
                  <a:lnTo>
                    <a:pt x="270777" y="20"/>
                  </a:lnTo>
                  <a:lnTo>
                    <a:pt x="0" y="468676"/>
                  </a:lnTo>
                  <a:lnTo>
                    <a:pt x="145859" y="721255"/>
                  </a:lnTo>
                  <a:lnTo>
                    <a:pt x="416510" y="252442"/>
                  </a:lnTo>
                  <a:lnTo>
                    <a:pt x="833032" y="252442"/>
                  </a:lnTo>
                  <a:lnTo>
                    <a:pt x="687193" y="0"/>
                  </a:lnTo>
                  <a:close/>
                </a:path>
              </a:pathLst>
            </a:custGeom>
            <a:solidFill>
              <a:srgbClr val="EB2F23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  <p:sp>
          <p:nvSpPr>
            <p:cNvPr id="10" name="object 13">
              <a:extLst>
                <a:ext uri="{FF2B5EF4-FFF2-40B4-BE49-F238E27FC236}">
                  <a16:creationId xmlns:a16="http://schemas.microsoft.com/office/drawing/2014/main" id="{1439A294-39FE-8A42-82EE-DD4A5519E18C}"/>
                </a:ext>
              </a:extLst>
            </p:cNvPr>
            <p:cNvSpPr/>
            <p:nvPr/>
          </p:nvSpPr>
          <p:spPr>
            <a:xfrm>
              <a:off x="18122744" y="873287"/>
              <a:ext cx="1280160" cy="144780"/>
            </a:xfrm>
            <a:custGeom>
              <a:avLst/>
              <a:gdLst/>
              <a:ahLst/>
              <a:cxnLst/>
              <a:rect l="l" t="t" r="r" b="b"/>
              <a:pathLst>
                <a:path w="1280159" h="144780">
                  <a:moveTo>
                    <a:pt x="234558" y="0"/>
                  </a:moveTo>
                  <a:lnTo>
                    <a:pt x="148937" y="0"/>
                  </a:lnTo>
                  <a:lnTo>
                    <a:pt x="148937" y="144236"/>
                  </a:lnTo>
                  <a:lnTo>
                    <a:pt x="185010" y="144236"/>
                  </a:lnTo>
                  <a:lnTo>
                    <a:pt x="185010" y="87913"/>
                  </a:lnTo>
                  <a:lnTo>
                    <a:pt x="260691" y="87913"/>
                  </a:lnTo>
                  <a:lnTo>
                    <a:pt x="256819" y="81201"/>
                  </a:lnTo>
                  <a:lnTo>
                    <a:pt x="264346" y="74841"/>
                  </a:lnTo>
                  <a:lnTo>
                    <a:pt x="270134" y="66848"/>
                  </a:lnTo>
                  <a:lnTo>
                    <a:pt x="273851" y="57547"/>
                  </a:lnTo>
                  <a:lnTo>
                    <a:pt x="274005" y="56343"/>
                  </a:lnTo>
                  <a:lnTo>
                    <a:pt x="185010" y="56343"/>
                  </a:lnTo>
                  <a:lnTo>
                    <a:pt x="185010" y="31559"/>
                  </a:lnTo>
                  <a:lnTo>
                    <a:pt x="273278" y="31559"/>
                  </a:lnTo>
                  <a:lnTo>
                    <a:pt x="271922" y="24812"/>
                  </a:lnTo>
                  <a:lnTo>
                    <a:pt x="263244" y="11898"/>
                  </a:lnTo>
                  <a:lnTo>
                    <a:pt x="250359" y="3192"/>
                  </a:lnTo>
                  <a:lnTo>
                    <a:pt x="234558" y="0"/>
                  </a:lnTo>
                  <a:close/>
                </a:path>
                <a:path w="1280159" h="144780">
                  <a:moveTo>
                    <a:pt x="260691" y="87913"/>
                  </a:moveTo>
                  <a:lnTo>
                    <a:pt x="224087" y="87913"/>
                  </a:lnTo>
                  <a:lnTo>
                    <a:pt x="256609" y="144236"/>
                  </a:lnTo>
                  <a:lnTo>
                    <a:pt x="293184" y="144236"/>
                  </a:lnTo>
                  <a:lnTo>
                    <a:pt x="260691" y="87913"/>
                  </a:lnTo>
                  <a:close/>
                </a:path>
                <a:path w="1280159" h="144780">
                  <a:moveTo>
                    <a:pt x="404678" y="0"/>
                  </a:moveTo>
                  <a:lnTo>
                    <a:pt x="366302" y="0"/>
                  </a:lnTo>
                  <a:lnTo>
                    <a:pt x="293184" y="144236"/>
                  </a:lnTo>
                  <a:lnTo>
                    <a:pt x="331560" y="144236"/>
                  </a:lnTo>
                  <a:lnTo>
                    <a:pt x="349821" y="108185"/>
                  </a:lnTo>
                  <a:lnTo>
                    <a:pt x="459513" y="108185"/>
                  </a:lnTo>
                  <a:lnTo>
                    <a:pt x="443506" y="76604"/>
                  </a:lnTo>
                  <a:lnTo>
                    <a:pt x="365821" y="76604"/>
                  </a:lnTo>
                  <a:lnTo>
                    <a:pt x="385485" y="37810"/>
                  </a:lnTo>
                  <a:lnTo>
                    <a:pt x="423843" y="37810"/>
                  </a:lnTo>
                  <a:lnTo>
                    <a:pt x="404678" y="0"/>
                  </a:lnTo>
                  <a:close/>
                </a:path>
                <a:path w="1280159" h="144780">
                  <a:moveTo>
                    <a:pt x="459513" y="108185"/>
                  </a:moveTo>
                  <a:lnTo>
                    <a:pt x="421149" y="108185"/>
                  </a:lnTo>
                  <a:lnTo>
                    <a:pt x="439421" y="144236"/>
                  </a:lnTo>
                  <a:lnTo>
                    <a:pt x="477786" y="144236"/>
                  </a:lnTo>
                  <a:lnTo>
                    <a:pt x="459513" y="108185"/>
                  </a:lnTo>
                  <a:close/>
                </a:path>
                <a:path w="1280159" h="144780">
                  <a:moveTo>
                    <a:pt x="423843" y="37810"/>
                  </a:moveTo>
                  <a:lnTo>
                    <a:pt x="385485" y="37810"/>
                  </a:lnTo>
                  <a:lnTo>
                    <a:pt x="405149" y="76604"/>
                  </a:lnTo>
                  <a:lnTo>
                    <a:pt x="443506" y="76604"/>
                  </a:lnTo>
                  <a:lnTo>
                    <a:pt x="423843" y="37810"/>
                  </a:lnTo>
                  <a:close/>
                </a:path>
                <a:path w="1280159" h="144780">
                  <a:moveTo>
                    <a:pt x="273278" y="31559"/>
                  </a:moveTo>
                  <a:lnTo>
                    <a:pt x="235039" y="31559"/>
                  </a:lnTo>
                  <a:lnTo>
                    <a:pt x="239102" y="35632"/>
                  </a:lnTo>
                  <a:lnTo>
                    <a:pt x="239175" y="52281"/>
                  </a:lnTo>
                  <a:lnTo>
                    <a:pt x="235102" y="56343"/>
                  </a:lnTo>
                  <a:lnTo>
                    <a:pt x="274005" y="56343"/>
                  </a:lnTo>
                  <a:lnTo>
                    <a:pt x="275164" y="47265"/>
                  </a:lnTo>
                  <a:lnTo>
                    <a:pt x="275101" y="40627"/>
                  </a:lnTo>
                  <a:lnTo>
                    <a:pt x="273278" y="31559"/>
                  </a:lnTo>
                  <a:close/>
                </a:path>
                <a:path w="1280159" h="144780">
                  <a:moveTo>
                    <a:pt x="1131410" y="0"/>
                  </a:moveTo>
                  <a:lnTo>
                    <a:pt x="1014230" y="0"/>
                  </a:lnTo>
                  <a:lnTo>
                    <a:pt x="1014230" y="144236"/>
                  </a:lnTo>
                  <a:lnTo>
                    <a:pt x="1131410" y="144236"/>
                  </a:lnTo>
                  <a:lnTo>
                    <a:pt x="1131410" y="112666"/>
                  </a:lnTo>
                  <a:lnTo>
                    <a:pt x="1050261" y="112666"/>
                  </a:lnTo>
                  <a:lnTo>
                    <a:pt x="1050261" y="87892"/>
                  </a:lnTo>
                  <a:lnTo>
                    <a:pt x="1126918" y="87892"/>
                  </a:lnTo>
                  <a:lnTo>
                    <a:pt x="1126918" y="56322"/>
                  </a:lnTo>
                  <a:lnTo>
                    <a:pt x="1050261" y="56322"/>
                  </a:lnTo>
                  <a:lnTo>
                    <a:pt x="1050261" y="31538"/>
                  </a:lnTo>
                  <a:lnTo>
                    <a:pt x="1131410" y="31538"/>
                  </a:lnTo>
                  <a:lnTo>
                    <a:pt x="1131410" y="0"/>
                  </a:lnTo>
                  <a:close/>
                </a:path>
                <a:path w="1280159" h="144780">
                  <a:moveTo>
                    <a:pt x="682942" y="107588"/>
                  </a:moveTo>
                  <a:lnTo>
                    <a:pt x="667131" y="134948"/>
                  </a:lnTo>
                  <a:lnTo>
                    <a:pt x="676632" y="138756"/>
                  </a:lnTo>
                  <a:lnTo>
                    <a:pt x="686575" y="141580"/>
                  </a:lnTo>
                  <a:lnTo>
                    <a:pt x="696919" y="143343"/>
                  </a:lnTo>
                  <a:lnTo>
                    <a:pt x="707622" y="143964"/>
                  </a:lnTo>
                  <a:lnTo>
                    <a:pt x="761620" y="143943"/>
                  </a:lnTo>
                  <a:lnTo>
                    <a:pt x="777399" y="140756"/>
                  </a:lnTo>
                  <a:lnTo>
                    <a:pt x="790263" y="132065"/>
                  </a:lnTo>
                  <a:lnTo>
                    <a:pt x="798927" y="119174"/>
                  </a:lnTo>
                  <a:lnTo>
                    <a:pt x="800280" y="112446"/>
                  </a:lnTo>
                  <a:lnTo>
                    <a:pt x="698889" y="112446"/>
                  </a:lnTo>
                  <a:lnTo>
                    <a:pt x="690533" y="110708"/>
                  </a:lnTo>
                  <a:lnTo>
                    <a:pt x="682942" y="107588"/>
                  </a:lnTo>
                  <a:close/>
                </a:path>
                <a:path w="1280159" h="144780">
                  <a:moveTo>
                    <a:pt x="769348" y="0"/>
                  </a:moveTo>
                  <a:lnTo>
                    <a:pt x="707622" y="0"/>
                  </a:lnTo>
                  <a:lnTo>
                    <a:pt x="691838" y="3185"/>
                  </a:lnTo>
                  <a:lnTo>
                    <a:pt x="678970" y="11873"/>
                  </a:lnTo>
                  <a:lnTo>
                    <a:pt x="670305" y="24763"/>
                  </a:lnTo>
                  <a:lnTo>
                    <a:pt x="667131" y="40553"/>
                  </a:lnTo>
                  <a:lnTo>
                    <a:pt x="667131" y="47150"/>
                  </a:lnTo>
                  <a:lnTo>
                    <a:pt x="670305" y="62943"/>
                  </a:lnTo>
                  <a:lnTo>
                    <a:pt x="678970" y="75840"/>
                  </a:lnTo>
                  <a:lnTo>
                    <a:pt x="691838" y="84536"/>
                  </a:lnTo>
                  <a:lnTo>
                    <a:pt x="707622" y="87725"/>
                  </a:lnTo>
                  <a:lnTo>
                    <a:pt x="762112" y="87725"/>
                  </a:lnTo>
                  <a:lnTo>
                    <a:pt x="766165" y="91766"/>
                  </a:lnTo>
                  <a:lnTo>
                    <a:pt x="766165" y="108384"/>
                  </a:lnTo>
                  <a:lnTo>
                    <a:pt x="762112" y="112446"/>
                  </a:lnTo>
                  <a:lnTo>
                    <a:pt x="800280" y="112446"/>
                  </a:lnTo>
                  <a:lnTo>
                    <a:pt x="802101" y="103389"/>
                  </a:lnTo>
                  <a:lnTo>
                    <a:pt x="802101" y="96782"/>
                  </a:lnTo>
                  <a:lnTo>
                    <a:pt x="798927" y="80998"/>
                  </a:lnTo>
                  <a:lnTo>
                    <a:pt x="790263" y="68111"/>
                  </a:lnTo>
                  <a:lnTo>
                    <a:pt x="777399" y="59424"/>
                  </a:lnTo>
                  <a:lnTo>
                    <a:pt x="761620" y="56239"/>
                  </a:lnTo>
                  <a:lnTo>
                    <a:pt x="707119" y="56239"/>
                  </a:lnTo>
                  <a:lnTo>
                    <a:pt x="703046" y="52176"/>
                  </a:lnTo>
                  <a:lnTo>
                    <a:pt x="703046" y="35548"/>
                  </a:lnTo>
                  <a:lnTo>
                    <a:pt x="707119" y="31485"/>
                  </a:lnTo>
                  <a:lnTo>
                    <a:pt x="784080" y="31485"/>
                  </a:lnTo>
                  <a:lnTo>
                    <a:pt x="784080" y="2219"/>
                  </a:lnTo>
                  <a:lnTo>
                    <a:pt x="777369" y="732"/>
                  </a:lnTo>
                  <a:lnTo>
                    <a:pt x="769348" y="0"/>
                  </a:lnTo>
                  <a:close/>
                </a:path>
                <a:path w="1280159" h="144780">
                  <a:moveTo>
                    <a:pt x="784080" y="31485"/>
                  </a:moveTo>
                  <a:lnTo>
                    <a:pt x="766102" y="31485"/>
                  </a:lnTo>
                  <a:lnTo>
                    <a:pt x="781044" y="32533"/>
                  </a:lnTo>
                  <a:lnTo>
                    <a:pt x="784080" y="33726"/>
                  </a:lnTo>
                  <a:lnTo>
                    <a:pt x="784080" y="31485"/>
                  </a:lnTo>
                  <a:close/>
                </a:path>
                <a:path w="1280159" h="144780">
                  <a:moveTo>
                    <a:pt x="1171995" y="0"/>
                  </a:moveTo>
                  <a:lnTo>
                    <a:pt x="1171995" y="144236"/>
                  </a:lnTo>
                  <a:lnTo>
                    <a:pt x="1208067" y="144236"/>
                  </a:lnTo>
                  <a:lnTo>
                    <a:pt x="1208067" y="31559"/>
                  </a:lnTo>
                  <a:lnTo>
                    <a:pt x="1261741" y="31559"/>
                  </a:lnTo>
                  <a:lnTo>
                    <a:pt x="1279971" y="20"/>
                  </a:lnTo>
                  <a:lnTo>
                    <a:pt x="1171995" y="0"/>
                  </a:lnTo>
                  <a:close/>
                </a:path>
                <a:path w="1280159" h="144780">
                  <a:moveTo>
                    <a:pt x="869994" y="0"/>
                  </a:moveTo>
                  <a:lnTo>
                    <a:pt x="829419" y="0"/>
                  </a:lnTo>
                  <a:lnTo>
                    <a:pt x="829419" y="144236"/>
                  </a:lnTo>
                  <a:lnTo>
                    <a:pt x="865460" y="144236"/>
                  </a:lnTo>
                  <a:lnTo>
                    <a:pt x="865460" y="49747"/>
                  </a:lnTo>
                  <a:lnTo>
                    <a:pt x="905595" y="49747"/>
                  </a:lnTo>
                  <a:lnTo>
                    <a:pt x="869994" y="0"/>
                  </a:lnTo>
                  <a:close/>
                </a:path>
                <a:path w="1280159" h="144780">
                  <a:moveTo>
                    <a:pt x="905595" y="49747"/>
                  </a:moveTo>
                  <a:lnTo>
                    <a:pt x="865460" y="49747"/>
                  </a:lnTo>
                  <a:lnTo>
                    <a:pt x="933081" y="144236"/>
                  </a:lnTo>
                  <a:lnTo>
                    <a:pt x="973656" y="144236"/>
                  </a:lnTo>
                  <a:lnTo>
                    <a:pt x="973656" y="94489"/>
                  </a:lnTo>
                  <a:lnTo>
                    <a:pt x="937615" y="94489"/>
                  </a:lnTo>
                  <a:lnTo>
                    <a:pt x="905595" y="49747"/>
                  </a:lnTo>
                  <a:close/>
                </a:path>
                <a:path w="1280159" h="144780">
                  <a:moveTo>
                    <a:pt x="973656" y="125"/>
                  </a:moveTo>
                  <a:lnTo>
                    <a:pt x="937615" y="125"/>
                  </a:lnTo>
                  <a:lnTo>
                    <a:pt x="937615" y="94489"/>
                  </a:lnTo>
                  <a:lnTo>
                    <a:pt x="973656" y="94489"/>
                  </a:lnTo>
                  <a:lnTo>
                    <a:pt x="973656" y="125"/>
                  </a:lnTo>
                  <a:close/>
                </a:path>
                <a:path w="1280159" h="144780">
                  <a:moveTo>
                    <a:pt x="108363" y="31559"/>
                  </a:moveTo>
                  <a:lnTo>
                    <a:pt x="72290" y="31559"/>
                  </a:lnTo>
                  <a:lnTo>
                    <a:pt x="72290" y="144236"/>
                  </a:lnTo>
                  <a:lnTo>
                    <a:pt x="108363" y="144236"/>
                  </a:lnTo>
                  <a:lnTo>
                    <a:pt x="108363" y="31559"/>
                  </a:lnTo>
                  <a:close/>
                </a:path>
                <a:path w="1280159" h="144780">
                  <a:moveTo>
                    <a:pt x="108363" y="0"/>
                  </a:moveTo>
                  <a:lnTo>
                    <a:pt x="0" y="20"/>
                  </a:lnTo>
                  <a:lnTo>
                    <a:pt x="18219" y="31569"/>
                  </a:lnTo>
                  <a:lnTo>
                    <a:pt x="108363" y="31559"/>
                  </a:lnTo>
                  <a:lnTo>
                    <a:pt x="108363" y="0"/>
                  </a:lnTo>
                  <a:close/>
                </a:path>
                <a:path w="1280159" h="144780">
                  <a:moveTo>
                    <a:pt x="531879" y="0"/>
                  </a:moveTo>
                  <a:lnTo>
                    <a:pt x="491314" y="0"/>
                  </a:lnTo>
                  <a:lnTo>
                    <a:pt x="491314" y="144236"/>
                  </a:lnTo>
                  <a:lnTo>
                    <a:pt x="527355" y="144236"/>
                  </a:lnTo>
                  <a:lnTo>
                    <a:pt x="527355" y="49747"/>
                  </a:lnTo>
                  <a:lnTo>
                    <a:pt x="567486" y="49747"/>
                  </a:lnTo>
                  <a:lnTo>
                    <a:pt x="531879" y="0"/>
                  </a:lnTo>
                  <a:close/>
                </a:path>
                <a:path w="1280159" h="144780">
                  <a:moveTo>
                    <a:pt x="567486" y="49747"/>
                  </a:moveTo>
                  <a:lnTo>
                    <a:pt x="527355" y="49747"/>
                  </a:lnTo>
                  <a:lnTo>
                    <a:pt x="594987" y="144236"/>
                  </a:lnTo>
                  <a:lnTo>
                    <a:pt x="635561" y="144236"/>
                  </a:lnTo>
                  <a:lnTo>
                    <a:pt x="635561" y="94489"/>
                  </a:lnTo>
                  <a:lnTo>
                    <a:pt x="599510" y="94489"/>
                  </a:lnTo>
                  <a:lnTo>
                    <a:pt x="567486" y="49747"/>
                  </a:lnTo>
                  <a:close/>
                </a:path>
                <a:path w="1280159" h="144780">
                  <a:moveTo>
                    <a:pt x="635561" y="125"/>
                  </a:moveTo>
                  <a:lnTo>
                    <a:pt x="599510" y="125"/>
                  </a:lnTo>
                  <a:lnTo>
                    <a:pt x="599510" y="94489"/>
                  </a:lnTo>
                  <a:lnTo>
                    <a:pt x="635561" y="94489"/>
                  </a:lnTo>
                  <a:lnTo>
                    <a:pt x="635561" y="125"/>
                  </a:lnTo>
                  <a:close/>
                </a:path>
              </a:pathLst>
            </a:custGeom>
            <a:solidFill>
              <a:srgbClr val="EB2F23"/>
            </a:solidFill>
          </p:spPr>
          <p:txBody>
            <a:bodyPr wrap="square" lIns="0" tIns="0" rIns="0" bIns="0" rtlCol="0"/>
            <a:lstStyle/>
            <a:p>
              <a:endParaRPr sz="637" b="0" i="0" dirty="0">
                <a:latin typeface="Tahoma Regular"/>
              </a:endParaRPr>
            </a:p>
          </p:txBody>
        </p:sp>
      </p:grpSp>
      <p:sp>
        <p:nvSpPr>
          <p:cNvPr id="11" name="object 11">
            <a:extLst>
              <a:ext uri="{FF2B5EF4-FFF2-40B4-BE49-F238E27FC236}">
                <a16:creationId xmlns:a16="http://schemas.microsoft.com/office/drawing/2014/main" id="{B1928782-0C78-CB41-8FE1-3353387FA322}"/>
              </a:ext>
            </a:extLst>
          </p:cNvPr>
          <p:cNvSpPr/>
          <p:nvPr userDrawn="1"/>
        </p:nvSpPr>
        <p:spPr>
          <a:xfrm>
            <a:off x="635836" y="6136761"/>
            <a:ext cx="170596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2" name="object 6">
            <a:extLst>
              <a:ext uri="{FF2B5EF4-FFF2-40B4-BE49-F238E27FC236}">
                <a16:creationId xmlns:a16="http://schemas.microsoft.com/office/drawing/2014/main" id="{CB7950BA-981A-DF44-A589-418E95F75F8B}"/>
              </a:ext>
            </a:extLst>
          </p:cNvPr>
          <p:cNvSpPr/>
          <p:nvPr userDrawn="1"/>
        </p:nvSpPr>
        <p:spPr>
          <a:xfrm>
            <a:off x="628654" y="1514047"/>
            <a:ext cx="11055595" cy="0"/>
          </a:xfrm>
          <a:custGeom>
            <a:avLst/>
            <a:gdLst/>
            <a:ahLst/>
            <a:cxnLst/>
            <a:rect l="l" t="t" r="r" b="b"/>
            <a:pathLst>
              <a:path w="18230215">
                <a:moveTo>
                  <a:pt x="0" y="0"/>
                </a:moveTo>
                <a:lnTo>
                  <a:pt x="18229780" y="0"/>
                </a:lnTo>
              </a:path>
            </a:pathLst>
          </a:custGeom>
          <a:ln w="20941">
            <a:solidFill>
              <a:srgbClr val="8B8E91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D10E46D-5507-C4E8-BE66-7DCE37E42ED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024438" y="6705600"/>
            <a:ext cx="21717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ZA" sz="10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NSNET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674485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69380040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1" imgH="420" progId="TCLayout.ActiveDocument.1">
                  <p:embed/>
                </p:oleObj>
              </mc:Choice>
              <mc:Fallback>
                <p:oleObj name="think-cell Slide" r:id="rId10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8755" y="276058"/>
            <a:ext cx="10457775" cy="7201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MASTER SLIDE</a:t>
            </a:r>
            <a:endParaRPr lang="en-Z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8329" y="1200483"/>
            <a:ext cx="11055343" cy="5299629"/>
          </a:xfrm>
          <a:prstGeom prst="rect">
            <a:avLst/>
          </a:prstGeom>
        </p:spPr>
        <p:txBody>
          <a:bodyPr vert="horz" lIns="36000" tIns="18000" rIns="0" bIns="18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7" name="Rectangle 6"/>
          <p:cNvSpPr/>
          <p:nvPr userDrawn="1"/>
        </p:nvSpPr>
        <p:spPr>
          <a:xfrm>
            <a:off x="443786" y="6292755"/>
            <a:ext cx="520704" cy="214315"/>
          </a:xfrm>
          <a:prstGeom prst="rect">
            <a:avLst/>
          </a:prstGeom>
        </p:spPr>
        <p:txBody>
          <a:bodyPr vert="horz" lIns="0" tIns="0" rIns="0" bIns="46012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9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767" b="1" dirty="0">
              <a:solidFill>
                <a:schemeClr val="tx1">
                  <a:lumMod val="50000"/>
                  <a:lumOff val="50000"/>
                </a:schemeClr>
              </a:solidFill>
              <a:latin typeface="Tahoma"/>
            </a:endParaRPr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C94C95BE-8722-4D8D-93E0-75343B78F809}"/>
              </a:ext>
            </a:extLst>
          </p:cNvPr>
          <p:cNvSpPr/>
          <p:nvPr userDrawn="1"/>
        </p:nvSpPr>
        <p:spPr>
          <a:xfrm>
            <a:off x="568328" y="1121575"/>
            <a:ext cx="11055343" cy="45719"/>
          </a:xfrm>
          <a:custGeom>
            <a:avLst/>
            <a:gdLst/>
            <a:ahLst/>
            <a:cxnLst/>
            <a:rect l="l" t="t" r="r" b="b"/>
            <a:pathLst>
              <a:path w="18230215">
                <a:moveTo>
                  <a:pt x="0" y="0"/>
                </a:moveTo>
                <a:lnTo>
                  <a:pt x="18229780" y="0"/>
                </a:lnTo>
              </a:path>
            </a:pathLst>
          </a:custGeom>
          <a:ln w="20941">
            <a:solidFill>
              <a:srgbClr val="8B8E91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8828F517-37FB-4E03-B217-C275D9590891}"/>
              </a:ext>
            </a:extLst>
          </p:cNvPr>
          <p:cNvSpPr/>
          <p:nvPr userDrawn="1"/>
        </p:nvSpPr>
        <p:spPr>
          <a:xfrm>
            <a:off x="620851" y="6136760"/>
            <a:ext cx="166575" cy="294959"/>
          </a:xfrm>
          <a:custGeom>
            <a:avLst/>
            <a:gdLst/>
            <a:ahLst/>
            <a:cxnLst/>
            <a:rect l="l" t="t" r="r" b="b"/>
            <a:pathLst>
              <a:path w="281305" h="486409">
                <a:moveTo>
                  <a:pt x="0" y="486404"/>
                </a:moveTo>
                <a:lnTo>
                  <a:pt x="281038" y="0"/>
                </a:lnTo>
              </a:path>
            </a:pathLst>
          </a:custGeom>
          <a:ln w="38679">
            <a:solidFill>
              <a:srgbClr val="E73023"/>
            </a:solidFill>
          </a:ln>
        </p:spPr>
        <p:txBody>
          <a:bodyPr wrap="square" lIns="0" tIns="0" rIns="0" bIns="0" rtlCol="0"/>
          <a:lstStyle/>
          <a:p>
            <a:endParaRPr sz="637" b="0" i="0" dirty="0">
              <a:latin typeface="Tahoma Regular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0567A0-C0A7-4B1B-AE7B-212F10FDF1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408861" y="116875"/>
            <a:ext cx="1335337" cy="98810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B7A302B-522E-2AF2-F86B-236C12B5D41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024438" y="6705600"/>
            <a:ext cx="21717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ZA" sz="100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NSNET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777079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</p:sldLayoutIdLst>
  <p:hf hdr="0" ftr="0" dt="0"/>
  <p:txStyles>
    <p:titleStyle>
      <a:lvl1pPr algn="l" defTabSz="779173" rtl="0" eaLnBrk="1" latinLnBrk="0" hangingPunct="1">
        <a:spcBef>
          <a:spcPct val="0"/>
        </a:spcBef>
        <a:buNone/>
        <a:defRPr sz="2800" b="1" kern="1200" cap="none" spc="0" baseline="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779173" rtl="0" eaLnBrk="1" latinLnBrk="0" hangingPunct="1">
        <a:lnSpc>
          <a:spcPct val="110000"/>
        </a:lnSpc>
        <a:spcBef>
          <a:spcPts val="1023"/>
        </a:spcBef>
        <a:spcAft>
          <a:spcPts val="341"/>
        </a:spcAft>
        <a:buFont typeface="Arial" pitchFamily="34" charset="0"/>
        <a:buNone/>
        <a:defRPr sz="20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228612" indent="-142037" algn="l" defTabSz="779173" rtl="0" eaLnBrk="1" latinLnBrk="0" hangingPunct="1">
        <a:lnSpc>
          <a:spcPct val="110000"/>
        </a:lnSpc>
        <a:spcBef>
          <a:spcPts val="171"/>
        </a:spcBef>
        <a:spcAft>
          <a:spcPts val="171"/>
        </a:spcAft>
        <a:buFont typeface="Arial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531623" indent="-160976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›"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764293" indent="-155565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–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1078126" indent="-156917" algn="l" defTabSz="779173" rtl="0" eaLnBrk="1" latinLnBrk="0" hangingPunct="1">
        <a:lnSpc>
          <a:spcPct val="110000"/>
        </a:lnSpc>
        <a:spcBef>
          <a:spcPts val="85"/>
        </a:spcBef>
        <a:spcAft>
          <a:spcPts val="171"/>
        </a:spcAft>
        <a:buFont typeface="Arial" pitchFamily="34" charset="0"/>
        <a:buChar char="»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142725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312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98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84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6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73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9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45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32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18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104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91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160">
          <p15:clr>
            <a:srgbClr val="F26B43"/>
          </p15:clr>
        </p15:guide>
        <p15:guide id="4" orient="horz" pos="4156">
          <p15:clr>
            <a:srgbClr val="F26B43"/>
          </p15:clr>
        </p15:guide>
        <p15:guide id="5" orient="horz" pos="2432">
          <p15:clr>
            <a:srgbClr val="F26B43"/>
          </p15:clr>
        </p15:guide>
        <p15:guide id="7" orient="horz" pos="7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3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20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4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20.emf"/><Relationship Id="rId9" Type="http://schemas.openxmlformats.org/officeDocument/2006/relationships/image" Target="../media/image4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5.xml"/><Relationship Id="rId6" Type="http://schemas.openxmlformats.org/officeDocument/2006/relationships/image" Target="../media/image48.png"/><Relationship Id="rId5" Type="http://schemas.openxmlformats.org/officeDocument/2006/relationships/image" Target="../media/image47.emf"/><Relationship Id="rId4" Type="http://schemas.openxmlformats.org/officeDocument/2006/relationships/image" Target="../media/image20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8D3E5CC3-671E-CF4C-8187-5F83868193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4221" y="5605641"/>
            <a:ext cx="9569227" cy="110331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ZA" sz="3600" kern="0" spc="10" dirty="0"/>
              <a:t>CTCT Weekly Performance Dashboard</a:t>
            </a:r>
          </a:p>
          <a:p>
            <a:pPr>
              <a:lnSpc>
                <a:spcPct val="100000"/>
              </a:lnSpc>
            </a:pPr>
            <a:r>
              <a:rPr lang="en-US" sz="3600" kern="0" spc="10" dirty="0"/>
              <a:t>17 – 23 July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326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74A145E-3943-4980-B345-2E122342C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5249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74A145E-3943-4980-B345-2E122342C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FCADC3-C966-4295-83EA-68F12EB9F6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756" y="267398"/>
            <a:ext cx="10457775" cy="720105"/>
          </a:xfrm>
        </p:spPr>
        <p:txBody>
          <a:bodyPr vert="horz"/>
          <a:lstStyle/>
          <a:p>
            <a:r>
              <a:rPr lang="en-US" dirty="0"/>
              <a:t>Waterside TEU’s</a:t>
            </a:r>
            <a:br>
              <a:rPr lang="en-US" dirty="0"/>
            </a:br>
            <a:r>
              <a:rPr lang="en-US" sz="2400" b="0" dirty="0">
                <a:solidFill>
                  <a:schemeClr val="accent5"/>
                </a:solidFill>
              </a:rPr>
              <a:t>17 – 23 July 2023</a:t>
            </a:r>
            <a:endParaRPr lang="en-GB" sz="2400" b="0" dirty="0">
              <a:solidFill>
                <a:schemeClr val="accent5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1846E04-E285-6147-9664-4793D282AC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2128" y="1170285"/>
            <a:ext cx="2781099" cy="263551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DB4019A-A242-6BB0-1D66-D611114122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2128" y="3908132"/>
            <a:ext cx="2789955" cy="264429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C92E81E-D4A1-CD6F-40B0-CA2F5212E5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08199" y="1170285"/>
            <a:ext cx="6450526" cy="263551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2003A9B-0CDB-0E46-9C34-7D7B53656A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08199" y="3938666"/>
            <a:ext cx="2789955" cy="2628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84798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fallOver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E10C3C1-9840-4332-92F2-26DF4FFE5F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7091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E10C3C1-9840-4332-92F2-26DF4FFE5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FCADC3-C966-4295-83EA-68F12EB9F6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ruck Gate Moves</a:t>
            </a:r>
            <a:br>
              <a:rPr lang="en-US" dirty="0"/>
            </a:br>
            <a:r>
              <a:rPr lang="en-US" sz="2400" b="0" dirty="0">
                <a:solidFill>
                  <a:schemeClr val="accent5"/>
                </a:solidFill>
              </a:rPr>
              <a:t>17 – 23 July 2023</a:t>
            </a:r>
            <a:endParaRPr lang="en-GB" b="0" dirty="0">
              <a:solidFill>
                <a:schemeClr val="accent5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99EF4D-083E-30C4-6E5A-8B94EF2601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88565" y="3826312"/>
            <a:ext cx="4321396" cy="259743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93EEFDE-EE3D-373F-6A1F-0E179DB492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88565" y="1293317"/>
            <a:ext cx="2890863" cy="241528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2551910-97DA-9420-A249-7749E3DAC9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8753" y="1293318"/>
            <a:ext cx="2792031" cy="24562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F517CD8-8DEE-0A9D-5E97-F5663D66A2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93065" y="1273331"/>
            <a:ext cx="2838963" cy="247620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F642516-2AA5-4A54-031A-AAA19780D2D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8753" y="3826312"/>
            <a:ext cx="6013275" cy="2586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13579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fallOver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FBB771-A68B-4096-A819-E9062BD413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9725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FBB771-A68B-4096-A819-E9062BD413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FCADC3-C966-4295-83EA-68F12EB9F6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ack Occupancy</a:t>
            </a:r>
            <a:br>
              <a:rPr lang="en-US" dirty="0"/>
            </a:br>
            <a:r>
              <a:rPr lang="en-US" sz="2400" b="0" dirty="0">
                <a:solidFill>
                  <a:schemeClr val="accent5"/>
                </a:solidFill>
              </a:rPr>
              <a:t>17 – 23 July 2023</a:t>
            </a:r>
            <a:endParaRPr lang="en-GB" sz="2400" b="0" dirty="0">
              <a:solidFill>
                <a:schemeClr val="accent5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0B8D599-7F8C-278F-9EFB-98BDDAED0D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73051" y="2074932"/>
            <a:ext cx="6514778" cy="245280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D283278-2F9C-E77A-0251-D034476763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67302" y="2091631"/>
            <a:ext cx="2731702" cy="24361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265813C-F8E1-40A6-789A-28BB1E1B4C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171" y="2091631"/>
            <a:ext cx="2575313" cy="243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89829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fallOver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1E6E2647-351D-BE49-BC4B-698A8004223D}"/>
              </a:ext>
            </a:extLst>
          </p:cNvPr>
          <p:cNvSpPr txBox="1"/>
          <p:nvPr/>
        </p:nvSpPr>
        <p:spPr>
          <a:xfrm>
            <a:off x="488286" y="956718"/>
            <a:ext cx="2883537" cy="577035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>
              <a:spcBef>
                <a:spcPts val="61"/>
              </a:spcBef>
            </a:pPr>
            <a:r>
              <a:rPr sz="3699" b="1" dirty="0">
                <a:solidFill>
                  <a:srgbClr val="FFFFFF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THANK</a:t>
            </a:r>
            <a:r>
              <a:rPr sz="3699" b="1" spc="-88" dirty="0">
                <a:solidFill>
                  <a:srgbClr val="FFFFFF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sz="3699" b="1" spc="-52" dirty="0">
                <a:solidFill>
                  <a:srgbClr val="FFFFFF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YOU</a:t>
            </a:r>
            <a:endParaRPr sz="3699" b="1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59571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fallOver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MASTER">
  <a:themeElements>
    <a:clrScheme name="Transnet">
      <a:dk1>
        <a:srgbClr val="000000"/>
      </a:dk1>
      <a:lt1>
        <a:sysClr val="window" lastClr="FFFFFF"/>
      </a:lt1>
      <a:dk2>
        <a:srgbClr val="69614E"/>
      </a:dk2>
      <a:lt2>
        <a:srgbClr val="C2BBAD"/>
      </a:lt2>
      <a:accent1>
        <a:srgbClr val="A1A250"/>
      </a:accent1>
      <a:accent2>
        <a:srgbClr val="6F90A7"/>
      </a:accent2>
      <a:accent3>
        <a:srgbClr val="84B5BD"/>
      </a:accent3>
      <a:accent4>
        <a:srgbClr val="C7B400"/>
      </a:accent4>
      <a:accent5>
        <a:srgbClr val="E42313"/>
      </a:accent5>
      <a:accent6>
        <a:srgbClr val="95C11F"/>
      </a:accent6>
      <a:hlink>
        <a:srgbClr val="00B0F0"/>
      </a:hlink>
      <a:folHlink>
        <a:srgbClr val="7030A0"/>
      </a:folHlink>
    </a:clrScheme>
    <a:fontScheme name="Transne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wrap="square" lIns="36000" tIns="36000" rIns="36000" bIns="36000" rtlCol="0" anchor="ctr"/>
      <a:lstStyle>
        <a:defPPr algn="ctr">
          <a:lnSpc>
            <a:spcPct val="110000"/>
          </a:lnSpc>
          <a:spcBef>
            <a:spcPts val="92"/>
          </a:spcBef>
          <a:spcAft>
            <a:spcPts val="92"/>
          </a:spcAft>
          <a:defRPr sz="923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9_TEMPLATE MASTER">
  <a:themeElements>
    <a:clrScheme name="Transnet">
      <a:dk1>
        <a:srgbClr val="000000"/>
      </a:dk1>
      <a:lt1>
        <a:sysClr val="window" lastClr="FFFFFF"/>
      </a:lt1>
      <a:dk2>
        <a:srgbClr val="69614E"/>
      </a:dk2>
      <a:lt2>
        <a:srgbClr val="C2BBAD"/>
      </a:lt2>
      <a:accent1>
        <a:srgbClr val="A1A250"/>
      </a:accent1>
      <a:accent2>
        <a:srgbClr val="6F90A7"/>
      </a:accent2>
      <a:accent3>
        <a:srgbClr val="84B5BD"/>
      </a:accent3>
      <a:accent4>
        <a:srgbClr val="C7B400"/>
      </a:accent4>
      <a:accent5>
        <a:srgbClr val="E42313"/>
      </a:accent5>
      <a:accent6>
        <a:srgbClr val="95C11F"/>
      </a:accent6>
      <a:hlink>
        <a:srgbClr val="00B0F0"/>
      </a:hlink>
      <a:folHlink>
        <a:srgbClr val="7030A0"/>
      </a:folHlink>
    </a:clrScheme>
    <a:fontScheme name="Transnet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tx1"/>
          </a:solidFill>
        </a:ln>
      </a:spPr>
      <a:bodyPr wrap="square" lIns="36000" tIns="36000" rIns="36000" bIns="36000" rtlCol="0" anchor="ctr"/>
      <a:lstStyle>
        <a:defPPr algn="ctr">
          <a:lnSpc>
            <a:spcPct val="110000"/>
          </a:lnSpc>
          <a:spcBef>
            <a:spcPts val="92"/>
          </a:spcBef>
          <a:spcAft>
            <a:spcPts val="92"/>
          </a:spcAft>
          <a:defRPr sz="923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pproval_x0020_Required xmlns="6f7b4a7f-d44a-4f65-a9aa-96ec94e426e4">No</Approval_x0020_Required>
    <Approvers xmlns="6f7b4a7f-d44a-4f65-a9aa-96ec94e426e4">
      <UserInfo>
        <DisplayName/>
        <AccountId xsi:nil="true"/>
        <AccountType/>
      </UserInfo>
    </Approvers>
    <Approve_x0020_Stage xmlns="6f7b4a7f-d44a-4f65-a9aa-96ec94e426e4" xsi:nil="true"/>
  </documentManagement>
</p:properties>
</file>

<file path=customXml/item3.xml><?xml version="1.0" encoding="utf-8"?>
<?mso-contentType ?>
<SharedContentType xmlns="Microsoft.SharePoint.Taxonomy.ContentTypeSync" SourceId="6402bf8a-be4c-4d43-8340-107e775f40e9" ContentTypeId="0x0101" PreviousValue="false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E86CADFC83C284AABA02E67EAA9A784" ma:contentTypeVersion="23" ma:contentTypeDescription="Create a new document." ma:contentTypeScope="" ma:versionID="bc227b928a0329a6f4ab8d10c2958ecb">
  <xsd:schema xmlns:xsd="http://www.w3.org/2001/XMLSchema" xmlns:xs="http://www.w3.org/2001/XMLSchema" xmlns:p="http://schemas.microsoft.com/office/2006/metadata/properties" xmlns:ns3="6f7b4a7f-d44a-4f65-a9aa-96ec94e426e4" xmlns:ns4="ac13aef0-e3c2-451b-8a0f-fa27211fa617" xmlns:ns5="584e2a90-0a3d-4822-aa79-a49007aaf019" targetNamespace="http://schemas.microsoft.com/office/2006/metadata/properties" ma:root="true" ma:fieldsID="76f10ef1567052912c4561b45705ec06" ns3:_="" ns4:_="" ns5:_="">
    <xsd:import namespace="6f7b4a7f-d44a-4f65-a9aa-96ec94e426e4"/>
    <xsd:import namespace="ac13aef0-e3c2-451b-8a0f-fa27211fa617"/>
    <xsd:import namespace="584e2a90-0a3d-4822-aa79-a49007aaf019"/>
    <xsd:element name="properties">
      <xsd:complexType>
        <xsd:sequence>
          <xsd:element name="documentManagement">
            <xsd:complexType>
              <xsd:all>
                <xsd:element ref="ns3:Approval_x0020_Required" minOccurs="0"/>
                <xsd:element ref="ns3:Approvers" minOccurs="0"/>
                <xsd:element ref="ns3:Approve_x0020_Stage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5:SharedWithUsers" minOccurs="0"/>
                <xsd:element ref="ns5:SharedWithDetails" minOccurs="0"/>
                <xsd:element ref="ns5:SharingHintHash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7b4a7f-d44a-4f65-a9aa-96ec94e426e4" elementFormDefault="qualified">
    <xsd:import namespace="http://schemas.microsoft.com/office/2006/documentManagement/types"/>
    <xsd:import namespace="http://schemas.microsoft.com/office/infopath/2007/PartnerControls"/>
    <xsd:element name="Approval_x0020_Required" ma:index="8" nillable="true" ma:displayName="Approval Required" ma:default="No" ma:format="Dropdown" ma:internalName="Approval_x0020_Required">
      <xsd:simpleType>
        <xsd:restriction base="dms:Choice">
          <xsd:enumeration value="No"/>
          <xsd:enumeration value="Yes"/>
        </xsd:restriction>
      </xsd:simpleType>
    </xsd:element>
    <xsd:element name="Approvers" ma:index="9" nillable="true" ma:displayName="Approvers" ma:list="UserInfo" ma:SharePointGroup="0" ma:internalName="Approvers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Approve_x0020_Stage" ma:index="10" nillable="true" ma:displayName="Approve Stage" ma:format="Dropdown" ma:internalName="Approve_x0020_Stage">
      <xsd:simpleType>
        <xsd:restriction base="dms:Choice">
          <xsd:enumeration value="Approving"/>
          <xsd:enumeration value="Approved"/>
          <xsd:enumeration value="Rejec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13aef0-e3c2-451b-8a0f-fa27211fa6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9" nillable="true" ma:displayName="Tags" ma:internalName="MediaServiceAutoTags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4e2a90-0a3d-4822-aa79-a49007aaf019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1BFBF73-D0B1-4773-BA54-E0414E65DBB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EC8FC9D-094F-4C66-B9A5-9043D28CAD38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584e2a90-0a3d-4822-aa79-a49007aaf019"/>
    <ds:schemaRef ds:uri="6f7b4a7f-d44a-4f65-a9aa-96ec94e426e4"/>
    <ds:schemaRef ds:uri="http://purl.org/dc/elements/1.1/"/>
    <ds:schemaRef ds:uri="http://schemas.microsoft.com/office/2006/metadata/properties"/>
    <ds:schemaRef ds:uri="ac13aef0-e3c2-451b-8a0f-fa27211fa617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BDFF318-0AA9-48A4-B40D-7885C136DA1E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9E8CF287-2F16-4E6D-B3B4-4325B16D9E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7b4a7f-d44a-4f65-a9aa-96ec94e426e4"/>
    <ds:schemaRef ds:uri="ac13aef0-e3c2-451b-8a0f-fa27211fa617"/>
    <ds:schemaRef ds:uri="584e2a90-0a3d-4822-aa79-a49007aaf0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43</TotalTime>
  <Words>36</Words>
  <Application>Microsoft Office PowerPoint</Application>
  <PresentationFormat>Widescreen</PresentationFormat>
  <Paragraphs>6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Tahoma</vt:lpstr>
      <vt:lpstr>Tahoma Regular</vt:lpstr>
      <vt:lpstr>TEMPLATE MASTER</vt:lpstr>
      <vt:lpstr>Custom Design</vt:lpstr>
      <vt:lpstr>9_TEMPLATE MASTER</vt:lpstr>
      <vt:lpstr>think-cell Slide</vt:lpstr>
      <vt:lpstr>PowerPoint Presentation</vt:lpstr>
      <vt:lpstr>Waterside TEU’s 17 – 23 July 2023</vt:lpstr>
      <vt:lpstr>Truck Gate Moves 17 – 23 July 2023</vt:lpstr>
      <vt:lpstr>Stack Occupancy 17 – 23 July 2023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endy Strauss</dc:creator>
  <cp:lastModifiedBy>Shaun Julius         Transnet Port Terminals CPT</cp:lastModifiedBy>
  <cp:revision>465</cp:revision>
  <dcterms:created xsi:type="dcterms:W3CDTF">2020-05-19T16:46:16Z</dcterms:created>
  <dcterms:modified xsi:type="dcterms:W3CDTF">2023-07-24T14:1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E86CADFC83C284AABA02E67EAA9A784</vt:lpwstr>
  </property>
  <property fmtid="{D5CDD505-2E9C-101B-9397-08002B2CF9AE}" pid="3" name="MSIP_Label_0571359f-d40b-4cd2-b0e6-b0e6793a1504_Enabled">
    <vt:lpwstr>true</vt:lpwstr>
  </property>
  <property fmtid="{D5CDD505-2E9C-101B-9397-08002B2CF9AE}" pid="4" name="MSIP_Label_0571359f-d40b-4cd2-b0e6-b0e6793a1504_SetDate">
    <vt:lpwstr>2023-01-30T06:40:44Z</vt:lpwstr>
  </property>
  <property fmtid="{D5CDD505-2E9C-101B-9397-08002B2CF9AE}" pid="5" name="MSIP_Label_0571359f-d40b-4cd2-b0e6-b0e6793a1504_Method">
    <vt:lpwstr>Standard</vt:lpwstr>
  </property>
  <property fmtid="{D5CDD505-2E9C-101B-9397-08002B2CF9AE}" pid="6" name="MSIP_Label_0571359f-d40b-4cd2-b0e6-b0e6793a1504_Name">
    <vt:lpwstr>0571359f-d40b-4cd2-b0e6-b0e6793a1504</vt:lpwstr>
  </property>
  <property fmtid="{D5CDD505-2E9C-101B-9397-08002B2CF9AE}" pid="7" name="MSIP_Label_0571359f-d40b-4cd2-b0e6-b0e6793a1504_SiteId">
    <vt:lpwstr>a1a39996-f913-4016-a58a-361c60dec580</vt:lpwstr>
  </property>
  <property fmtid="{D5CDD505-2E9C-101B-9397-08002B2CF9AE}" pid="8" name="MSIP_Label_0571359f-d40b-4cd2-b0e6-b0e6793a1504_ActionId">
    <vt:lpwstr>d5f3408c-f585-4deb-abe5-937ef3065d21</vt:lpwstr>
  </property>
  <property fmtid="{D5CDD505-2E9C-101B-9397-08002B2CF9AE}" pid="9" name="MSIP_Label_0571359f-d40b-4cd2-b0e6-b0e6793a1504_ContentBits">
    <vt:lpwstr>2</vt:lpwstr>
  </property>
  <property fmtid="{D5CDD505-2E9C-101B-9397-08002B2CF9AE}" pid="10" name="ClassificationContentMarkingFooterLocations">
    <vt:lpwstr>TEMPLATE MASTER:8\Custom Design:4\9_TEMPLATE MASTER:8</vt:lpwstr>
  </property>
  <property fmtid="{D5CDD505-2E9C-101B-9397-08002B2CF9AE}" pid="11" name="ClassificationContentMarkingFooterText">
    <vt:lpwstr>TRANSNET CONFIDENTIAL INFORMATION</vt:lpwstr>
  </property>
</Properties>
</file>